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1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2" r:id="rId5"/>
  </p:sldMasterIdLst>
  <p:notesMasterIdLst>
    <p:notesMasterId r:id="rId16"/>
  </p:notesMasterIdLst>
  <p:handoutMasterIdLst>
    <p:handoutMasterId r:id="rId17"/>
  </p:handoutMasterIdLst>
  <p:sldIdLst>
    <p:sldId id="322" r:id="rId6"/>
    <p:sldId id="664" r:id="rId7"/>
    <p:sldId id="649" r:id="rId8"/>
    <p:sldId id="660" r:id="rId9"/>
    <p:sldId id="661" r:id="rId10"/>
    <p:sldId id="662" r:id="rId11"/>
    <p:sldId id="663" r:id="rId12"/>
    <p:sldId id="316" r:id="rId13"/>
    <p:sldId id="658" r:id="rId14"/>
    <p:sldId id="665" r:id="rId15"/>
  </p:sldIdLst>
  <p:sldSz cx="9144000" cy="5143500" type="screen16x9"/>
  <p:notesSz cx="9144000" cy="6858000"/>
  <p:custDataLst>
    <p:tags r:id="rId18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9">
          <p15:clr>
            <a:srgbClr val="A4A3A4"/>
          </p15:clr>
        </p15:guide>
        <p15:guide id="2" pos="4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7DDB"/>
    <a:srgbClr val="86CEF4"/>
    <a:srgbClr val="0F238C"/>
    <a:srgbClr val="081765"/>
    <a:srgbClr val="0F238D"/>
    <a:srgbClr val="FFAF8B"/>
    <a:srgbClr val="FFA279"/>
    <a:srgbClr val="FF7F45"/>
    <a:srgbClr val="34AA34"/>
    <a:srgbClr val="FF7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88503" autoAdjust="0"/>
  </p:normalViewPr>
  <p:slideViewPr>
    <p:cSldViewPr snapToGrid="0" showGuides="1">
      <p:cViewPr varScale="1">
        <p:scale>
          <a:sx n="129" d="100"/>
          <a:sy n="129" d="100"/>
        </p:scale>
        <p:origin x="1086" y="132"/>
      </p:cViewPr>
      <p:guideLst>
        <p:guide orient="horz" pos="409"/>
        <p:guide pos="4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4" d="100"/>
          <a:sy n="114" d="100"/>
        </p:scale>
        <p:origin x="-2406" y="-102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9FCD8DF2-53D4-4BF6-8978-143C17340C4B}" type="datetimeFigureOut">
              <a:rPr lang="en-US"/>
              <a:pPr/>
              <a:t>10/3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22329EE4-9E7B-4DC4-A0B9-464292B80270}" type="slidenum">
              <a:rPr lang="en-US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21673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8AA24D4-C142-4AD4-AFCF-F7BB80872E9B}" type="datetimeFigureOut">
              <a:rPr lang="en-US"/>
              <a:pPr/>
              <a:t>10/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noProof="0"/>
              <a:t>Click to edit Master text styles</a:t>
            </a:r>
          </a:p>
          <a:p>
            <a:pPr lvl="1"/>
            <a:r>
              <a:rPr lang="nl-NL" noProof="0"/>
              <a:t>Second level</a:t>
            </a:r>
          </a:p>
          <a:p>
            <a:pPr lvl="2"/>
            <a:r>
              <a:rPr lang="nl-NL" noProof="0"/>
              <a:t>Third level</a:t>
            </a:r>
          </a:p>
          <a:p>
            <a:pPr lvl="3"/>
            <a:r>
              <a:rPr lang="nl-NL" noProof="0"/>
              <a:t>Fourth level</a:t>
            </a:r>
          </a:p>
          <a:p>
            <a:pPr lvl="4"/>
            <a:r>
              <a:rPr lang="nl-NL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76975FB5-9214-4EFA-B591-A6F1A7368D3F}" type="slidenum">
              <a:rPr lang="en-US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67464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75FB5-9214-4EFA-B591-A6F1A7368D3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1008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 preserve="1">
  <p:cSld name="Title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8" name="Hide background Logo">
            <a:extLst>
              <a:ext uri="{FF2B5EF4-FFF2-40B4-BE49-F238E27FC236}">
                <a16:creationId xmlns:a16="http://schemas.microsoft.com/office/drawing/2014/main" id="{CD7E7ADD-A5EE-4293-9821-A81FD429DCCC}"/>
              </a:ext>
            </a:extLst>
          </p:cNvPr>
          <p:cNvSpPr/>
          <p:nvPr/>
        </p:nvSpPr>
        <p:spPr>
          <a:xfrm>
            <a:off x="219600" y="4853250"/>
            <a:ext cx="561600" cy="210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4F6A1DCD-AFA3-44B1-BB26-956115725CC6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3378994" y="2663589"/>
            <a:ext cx="4387106" cy="364461"/>
          </a:xfrm>
        </p:spPr>
        <p:txBody>
          <a:bodyPr wrap="square" anchor="b">
            <a:spAutoFit/>
          </a:bodyPr>
          <a:lstStyle>
            <a:lvl1pPr algn="l" defTabSz="280800">
              <a:lnSpc>
                <a:spcPct val="95000"/>
              </a:lnSpc>
              <a:spcAft>
                <a:spcPts val="553"/>
              </a:spcAft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9137210" y="5136710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 noProof="0"/>
              <a:t>Confidential</a:t>
            </a:r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137210" y="5136710"/>
            <a:ext cx="0" cy="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>
            <a:off x="-394" y="-9450"/>
            <a:ext cx="9144394" cy="515295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900A1DFC-F57B-4770-90BD-038EC73C411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Picture Placeholder (P41)">
            <a:extLst>
              <a:ext uri="{FF2B5EF4-FFF2-40B4-BE49-F238E27FC236}">
                <a16:creationId xmlns:a16="http://schemas.microsoft.com/office/drawing/2014/main" id="{D463EF9F-EC08-4F41-95E7-7BC682D3D8E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4136750 w 12192000"/>
              <a:gd name="connsiteY0" fmla="*/ 5113800 h 6858000"/>
              <a:gd name="connsiteX1" fmla="*/ 4364400 w 12192000"/>
              <a:gd name="connsiteY1" fmla="*/ 5113800 h 6858000"/>
              <a:gd name="connsiteX2" fmla="*/ 12192000 w 12192000"/>
              <a:gd name="connsiteY2" fmla="*/ 5113800 h 6858000"/>
              <a:gd name="connsiteX3" fmla="*/ 12192000 w 12192000"/>
              <a:gd name="connsiteY3" fmla="*/ 6858000 h 6858000"/>
              <a:gd name="connsiteX4" fmla="*/ 4136750 w 12192000"/>
              <a:gd name="connsiteY4" fmla="*/ 6858000 h 6858000"/>
              <a:gd name="connsiteX5" fmla="*/ 0 w 12192000"/>
              <a:gd name="connsiteY5" fmla="*/ 5113800 h 6858000"/>
              <a:gd name="connsiteX6" fmla="*/ 4130400 w 12192000"/>
              <a:gd name="connsiteY6" fmla="*/ 5113800 h 6858000"/>
              <a:gd name="connsiteX7" fmla="*/ 4130400 w 12192000"/>
              <a:gd name="connsiteY7" fmla="*/ 6858000 h 6858000"/>
              <a:gd name="connsiteX8" fmla="*/ 0 w 12192000"/>
              <a:gd name="connsiteY8" fmla="*/ 6858000 h 6858000"/>
              <a:gd name="connsiteX9" fmla="*/ 0 w 12192000"/>
              <a:gd name="connsiteY9" fmla="*/ 0 h 6858000"/>
              <a:gd name="connsiteX10" fmla="*/ 4130400 w 12192000"/>
              <a:gd name="connsiteY10" fmla="*/ 0 h 6858000"/>
              <a:gd name="connsiteX11" fmla="*/ 4130400 w 12192000"/>
              <a:gd name="connsiteY11" fmla="*/ 5067000 h 6858000"/>
              <a:gd name="connsiteX12" fmla="*/ 4130400 w 12192000"/>
              <a:gd name="connsiteY12" fmla="*/ 5107450 h 6858000"/>
              <a:gd name="connsiteX13" fmla="*/ 0 w 12192000"/>
              <a:gd name="connsiteY13" fmla="*/ 51074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4136750" y="5113800"/>
                </a:moveTo>
                <a:lnTo>
                  <a:pt x="4364400" y="5113800"/>
                </a:lnTo>
                <a:lnTo>
                  <a:pt x="12192000" y="5113800"/>
                </a:lnTo>
                <a:lnTo>
                  <a:pt x="12192000" y="6858000"/>
                </a:lnTo>
                <a:lnTo>
                  <a:pt x="4136750" y="6858000"/>
                </a:lnTo>
                <a:close/>
                <a:moveTo>
                  <a:pt x="0" y="5113800"/>
                </a:moveTo>
                <a:lnTo>
                  <a:pt x="4130400" y="5113800"/>
                </a:lnTo>
                <a:lnTo>
                  <a:pt x="4130400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4130400" y="0"/>
                </a:lnTo>
                <a:lnTo>
                  <a:pt x="4130400" y="5067000"/>
                </a:lnTo>
                <a:lnTo>
                  <a:pt x="4130400" y="5107450"/>
                </a:lnTo>
                <a:lnTo>
                  <a:pt x="0" y="5107450"/>
                </a:lnTo>
                <a:close/>
              </a:path>
            </a:pathLst>
          </a:custGeom>
          <a:noFill/>
        </p:spPr>
        <p:txBody>
          <a:bodyPr wrap="square" lIns="396000" rIns="396000" bIns="468000" anchor="ctr" anchorCtr="0">
            <a:noAutofit/>
          </a:bodyPr>
          <a:lstStyle>
            <a:lvl1pPr algn="l">
              <a:defRPr sz="9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0CA825D8-8A74-4D85-9E5D-DA0C5C57A3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78994" y="1518750"/>
            <a:ext cx="4387106" cy="350865"/>
          </a:xfrm>
        </p:spPr>
        <p:txBody>
          <a:bodyPr tIns="0" bIns="0" anchor="b"/>
          <a:lstStyle>
            <a:lvl1pPr algn="l" defTabSz="280800">
              <a:lnSpc>
                <a:spcPct val="95000"/>
              </a:lnSpc>
              <a:spcAft>
                <a:spcPts val="0"/>
              </a:spcAft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ing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B79FE9FA-B090-40ED-A66C-FC46A2929F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78994" y="1869614"/>
            <a:ext cx="4387106" cy="278838"/>
          </a:xfrm>
        </p:spPr>
        <p:txBody>
          <a:bodyPr wrap="square" tIns="3600">
            <a:noAutofit/>
          </a:bodyPr>
          <a:lstStyle>
            <a:lvl1pPr>
              <a:defRPr sz="1800" b="1" baseline="0">
                <a:solidFill>
                  <a:schemeClr val="bg1"/>
                </a:solidFill>
              </a:defRPr>
            </a:lvl1pPr>
            <a:lvl2pPr>
              <a:defRPr sz="1800" baseline="0"/>
            </a:lvl2pPr>
            <a:lvl3pPr>
              <a:defRPr sz="1800" baseline="0"/>
            </a:lvl3pPr>
            <a:lvl4pPr>
              <a:defRPr sz="1800" baseline="0"/>
            </a:lvl4pPr>
            <a:lvl5pPr>
              <a:defRPr sz="1800" baseline="0"/>
            </a:lvl5pPr>
            <a:lvl6pPr>
              <a:defRPr sz="1800" baseline="0"/>
            </a:lvl6pPr>
            <a:lvl7pPr>
              <a:defRPr sz="1800" baseline="0"/>
            </a:lvl7pPr>
            <a:lvl8pPr>
              <a:defRPr sz="1800" baseline="0"/>
            </a:lvl8pPr>
            <a:lvl9pPr>
              <a:defRPr sz="1800" baseline="0"/>
            </a:lvl9pPr>
          </a:lstStyle>
          <a:p>
            <a:r>
              <a:rPr lang="en-US" dirty="0"/>
              <a:t>Click to edit subheading</a:t>
            </a:r>
          </a:p>
        </p:txBody>
      </p: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7583931" y="325041"/>
            <a:ext cx="1270748" cy="351309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MIO_AGENDA_IGNORE_NAVIGATION" hidden="1">
            <a:extLst>
              <a:ext uri="{FF2B5EF4-FFF2-40B4-BE49-F238E27FC236}">
                <a16:creationId xmlns:a16="http://schemas.microsoft.com/office/drawing/2014/main" id="{287EF10B-E93F-4F89-9FB3-1A347169686C}"/>
              </a:ext>
            </a:extLst>
          </p:cNvPr>
          <p:cNvSpPr/>
          <p:nvPr/>
        </p:nvSpPr>
        <p:spPr>
          <a:xfrm>
            <a:off x="8853720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58" name="MIO_AGENDA_IGNORE_CHAPTER_REFERENCE" hidden="1">
            <a:extLst>
              <a:ext uri="{FF2B5EF4-FFF2-40B4-BE49-F238E27FC236}">
                <a16:creationId xmlns:a16="http://schemas.microsoft.com/office/drawing/2014/main" id="{C4F5FA7D-3698-4E1D-9882-6F3C343465A7}"/>
              </a:ext>
            </a:extLst>
          </p:cNvPr>
          <p:cNvSpPr/>
          <p:nvPr/>
        </p:nvSpPr>
        <p:spPr>
          <a:xfrm>
            <a:off x="8638184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12" name="Firstname Lastname">
            <a:extLst>
              <a:ext uri="{FF2B5EF4-FFF2-40B4-BE49-F238E27FC236}">
                <a16:creationId xmlns:a16="http://schemas.microsoft.com/office/drawing/2014/main" id="{44F94BEC-5FEE-4E23-9B49-21A45B711E9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378599" y="2326118"/>
            <a:ext cx="4387500" cy="1734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14" name="Position and Title">
            <a:extLst>
              <a:ext uri="{FF2B5EF4-FFF2-40B4-BE49-F238E27FC236}">
                <a16:creationId xmlns:a16="http://schemas.microsoft.com/office/drawing/2014/main" id="{AF3DCBE4-97FE-41EF-8901-C12C7A998A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378599" y="2501550"/>
            <a:ext cx="4387500" cy="175433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16" name="Location">
            <a:extLst>
              <a:ext uri="{FF2B5EF4-FFF2-40B4-BE49-F238E27FC236}">
                <a16:creationId xmlns:a16="http://schemas.microsoft.com/office/drawing/2014/main" id="{65FC8929-EAC1-44D3-88E2-9306D0D4B23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78599" y="3028050"/>
            <a:ext cx="4387500" cy="175433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18" name="Version">
            <a:extLst>
              <a:ext uri="{FF2B5EF4-FFF2-40B4-BE49-F238E27FC236}">
                <a16:creationId xmlns:a16="http://schemas.microsoft.com/office/drawing/2014/main" id="{A1534518-BDDC-41CB-B717-67772836121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378599" y="3484350"/>
            <a:ext cx="3650400" cy="2106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9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1419069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pos="6523">
          <p15:clr>
            <a:srgbClr val="FFFFFF"/>
          </p15:clr>
        </p15:guide>
        <p15:guide id="4" orient="horz" pos="1570">
          <p15:clr>
            <a:srgbClr val="FFFFFF"/>
          </p15:clr>
        </p15:guide>
        <p15:guide id="5" orient="horz" pos="1806">
          <p15:clr>
            <a:srgbClr val="FFFF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" type="fourObj" preserve="1">
  <p:cSld name="Titl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2" name="Content Placeholder left">
            <a:extLst>
              <a:ext uri="{FF2B5EF4-FFF2-40B4-BE49-F238E27FC236}">
                <a16:creationId xmlns:a16="http://schemas.microsoft.com/office/drawing/2014/main" id="{68997374-0D38-4532-8506-0877E5D1F9A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027350"/>
            <a:ext cx="1824750" cy="3510122"/>
          </a:xfrm>
        </p:spPr>
        <p:txBody>
          <a:bodyPr/>
          <a:lstStyle>
            <a:lvl1pPr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  <a:defRPr sz="900" baseline="0"/>
            </a:lvl1pPr>
            <a:lvl2pPr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  <a:defRPr sz="900" baseline="0"/>
            </a:lvl2pPr>
            <a:lvl3pPr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  <a:defRPr sz="900" baseline="0"/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750" baseline="0"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750" baseline="0"/>
            </a:lvl5pPr>
            <a:lvl6pPr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  <a:defRPr sz="900" baseline="0"/>
            </a:lvl6pPr>
            <a:lvl7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750" baseline="0"/>
            </a:lvl7pPr>
            <a:lvl8pPr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  <a:defRPr sz="900" baseline="0"/>
            </a:lvl8pPr>
            <a:lvl9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center left">
            <a:extLst>
              <a:ext uri="{FF2B5EF4-FFF2-40B4-BE49-F238E27FC236}">
                <a16:creationId xmlns:a16="http://schemas.microsoft.com/office/drawing/2014/main" id="{40E6EFB6-C485-43AC-8071-33FD8D38BC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2395800" y="1027350"/>
            <a:ext cx="1824966" cy="3510122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center right">
            <a:extLst>
              <a:ext uri="{FF2B5EF4-FFF2-40B4-BE49-F238E27FC236}">
                <a16:creationId xmlns:a16="http://schemas.microsoft.com/office/drawing/2014/main" id="{F07FD752-F5AE-44F3-9E78-BAE50FECB03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501800" y="1027350"/>
            <a:ext cx="1825181" cy="3510122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right">
            <a:extLst>
              <a:ext uri="{FF2B5EF4-FFF2-40B4-BE49-F238E27FC236}">
                <a16:creationId xmlns:a16="http://schemas.microsoft.com/office/drawing/2014/main" id="{11103353-C967-4B83-BF3B-88CA81C9603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607800" y="1027350"/>
            <a:ext cx="1825397" cy="3510122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F6C5AA7-4333-4ADE-B698-06D17EAFF7DF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BC7595-36F8-47CD-9313-F7DD7933BC5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92EC2A-38E8-46A0-A721-6659543C2ECF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5353295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  <p15:guide id="9" pos="5550">
          <p15:clr>
            <a:srgbClr val="547EBF"/>
          </p15:clr>
        </p15:guide>
        <p15:guide id="10" pos="5314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Header" type="txOverObj" preserve="1">
  <p:cSld name="Title Content &#10;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2" y="1027510"/>
            <a:ext cx="8143875" cy="210741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lang="en-US" baseline="0" dirty="0">
                <a:solidFill>
                  <a:schemeClr val="accent1"/>
                </a:solidFill>
              </a:defRPr>
            </a:lvl2pPr>
            <a:lvl3pPr>
              <a:defRPr lang="en-US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baseline="0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baseline="0" dirty="0">
                <a:solidFill>
                  <a:schemeClr val="accent1"/>
                </a:solidFill>
              </a:defRPr>
            </a:lvl7pPr>
            <a:lvl8pPr>
              <a:defRPr lang="en-US" baseline="0" dirty="0">
                <a:solidFill>
                  <a:schemeClr val="accent1"/>
                </a:solidFill>
              </a:defRPr>
            </a:lvl8pPr>
            <a:lvl9pPr>
              <a:defRPr lang="en-US" baseline="0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" hidden="1">
            <a:extLst>
              <a:ext uri="{FF2B5EF4-FFF2-40B4-BE49-F238E27FC236}">
                <a16:creationId xmlns:a16="http://schemas.microsoft.com/office/drawing/2014/main" id="{F39CDF36-8584-474A-A340-2CF19A90EF6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323" y="1378745"/>
            <a:ext cx="8143397" cy="31587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6F9F72-D473-4FF0-B534-697B037CAB9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F3986B-5EC8-441C-8101-40A5B761494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8A1E49-F2C9-4BC4-B87C-E6B6AD4C516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364037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Headers" type="twoTxTwoObj" preserve="1">
  <p:cSld name="Title 2 Contents &#10;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3" y="1027510"/>
            <a:ext cx="3931678" cy="210741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01800" y="1027351"/>
            <a:ext cx="3928336" cy="21074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left">
            <a:extLst>
              <a:ext uri="{FF2B5EF4-FFF2-40B4-BE49-F238E27FC236}">
                <a16:creationId xmlns:a16="http://schemas.microsoft.com/office/drawing/2014/main" id="{66ADD6CF-E96E-40D4-888D-AEC6A7B689C7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378744"/>
            <a:ext cx="3930966" cy="315872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right">
            <a:extLst>
              <a:ext uri="{FF2B5EF4-FFF2-40B4-BE49-F238E27FC236}">
                <a16:creationId xmlns:a16="http://schemas.microsoft.com/office/drawing/2014/main" id="{E1B13DFC-B01F-469C-B65F-D2F36871231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501800" y="1378744"/>
            <a:ext cx="3931397" cy="315872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753840-5CF9-42CC-B75A-73C48DC2F7C1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8F75E6-E90D-4A29-855E-060F8C52029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CCE0EC-DF6D-4A71-AB27-210BB010718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6178315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040">
          <p15:clr>
            <a:srgbClr val="547EBF"/>
          </p15:clr>
        </p15:guide>
        <p15:guide id="7" orient="horz" pos="1158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545">
          <p15:clr>
            <a:srgbClr val="547EBF"/>
          </p15:clr>
        </p15:guide>
        <p15:guide id="11" pos="3781">
          <p15:clr>
            <a:srgbClr val="547EBF"/>
          </p15:clr>
        </p15:guide>
        <p15:guide id="12" pos="7083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Headers" preserve="1">
  <p:cSld name="Title 3 Contents &#10;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3" y="1027510"/>
            <a:ext cx="2527678" cy="210741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97800" y="1027510"/>
            <a:ext cx="2525529" cy="21074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07471" y="1027510"/>
            <a:ext cx="2525529" cy="21074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left">
            <a:extLst>
              <a:ext uri="{FF2B5EF4-FFF2-40B4-BE49-F238E27FC236}">
                <a16:creationId xmlns:a16="http://schemas.microsoft.com/office/drawing/2014/main" id="{80B9EEE4-A50E-45E6-90B7-A6DF93D7D7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378744"/>
            <a:ext cx="2527219" cy="315872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center">
            <a:extLst>
              <a:ext uri="{FF2B5EF4-FFF2-40B4-BE49-F238E27FC236}">
                <a16:creationId xmlns:a16="http://schemas.microsoft.com/office/drawing/2014/main" id="{6198751F-5038-4C04-BB4F-3E8723C1B29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097800" y="1378744"/>
            <a:ext cx="2526713" cy="315872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right">
            <a:extLst>
              <a:ext uri="{FF2B5EF4-FFF2-40B4-BE49-F238E27FC236}">
                <a16:creationId xmlns:a16="http://schemas.microsoft.com/office/drawing/2014/main" id="{491A289C-2085-4668-9581-ADDF1084BBEE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5905800" y="1378744"/>
            <a:ext cx="2527397" cy="315872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6572EF5-53AC-4B89-8142-90BB2ABE731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FEE9EC-14C8-490D-AD5C-42C125A1E4EE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57346F-2946-4C35-8684-4782DA54540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2967250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2366">
          <p15:clr>
            <a:srgbClr val="547EBF"/>
          </p15:clr>
        </p15:guide>
        <p15:guide id="12" pos="2602">
          <p15:clr>
            <a:srgbClr val="547EBF"/>
          </p15:clr>
        </p15:guide>
        <p15:guide id="13" pos="4724">
          <p15:clr>
            <a:srgbClr val="547EBF"/>
          </p15:clr>
        </p15:guide>
        <p15:guide id="14" pos="4960">
          <p15:clr>
            <a:srgbClr val="547EB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Headers" preserve="1">
  <p:cSld name="Title 4 Contents &#10;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3" y="1027510"/>
            <a:ext cx="1825678" cy="210741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>
                <a:solidFill>
                  <a:schemeClr val="accent1"/>
                </a:solidFill>
              </a:defRPr>
            </a:lvl1pPr>
            <a:lvl2pPr>
              <a:defRPr lang="en-US" sz="900" dirty="0">
                <a:solidFill>
                  <a:schemeClr val="accent1"/>
                </a:solidFill>
              </a:defRPr>
            </a:lvl2pPr>
            <a:lvl3pPr>
              <a:defRPr lang="en-US" sz="900" dirty="0">
                <a:solidFill>
                  <a:schemeClr val="accent1"/>
                </a:solidFill>
              </a:defRPr>
            </a:lvl3pPr>
            <a:lvl4pPr>
              <a:defRPr lang="en-US" sz="75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900" dirty="0">
                <a:solidFill>
                  <a:schemeClr val="accent1"/>
                </a:solidFill>
              </a:defRPr>
            </a:lvl6pPr>
            <a:lvl7pPr>
              <a:defRPr lang="en-US" sz="75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95800" y="1027351"/>
            <a:ext cx="1824126" cy="2109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>
                <a:solidFill>
                  <a:schemeClr val="accent1"/>
                </a:solidFill>
              </a:defRPr>
            </a:lvl1pPr>
            <a:lvl2pPr>
              <a:defRPr lang="en-US" sz="900" dirty="0">
                <a:solidFill>
                  <a:schemeClr val="accent1"/>
                </a:solidFill>
              </a:defRPr>
            </a:lvl2pPr>
            <a:lvl3pPr>
              <a:defRPr lang="en-US" sz="900" dirty="0">
                <a:solidFill>
                  <a:schemeClr val="accent1"/>
                </a:solidFill>
              </a:defRPr>
            </a:lvl3pPr>
            <a:lvl4pPr>
              <a:defRPr lang="en-US" sz="75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900" dirty="0">
                <a:solidFill>
                  <a:schemeClr val="accent1"/>
                </a:solidFill>
              </a:defRPr>
            </a:lvl6pPr>
            <a:lvl7pPr>
              <a:defRPr lang="en-US" sz="75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01800" y="1027510"/>
            <a:ext cx="1824126" cy="2107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>
                <a:solidFill>
                  <a:schemeClr val="accent1"/>
                </a:solidFill>
              </a:defRPr>
            </a:lvl1pPr>
            <a:lvl2pPr>
              <a:defRPr lang="en-US" sz="900" dirty="0">
                <a:solidFill>
                  <a:schemeClr val="accent1"/>
                </a:solidFill>
              </a:defRPr>
            </a:lvl2pPr>
            <a:lvl3pPr>
              <a:defRPr lang="en-US" sz="900" dirty="0">
                <a:solidFill>
                  <a:schemeClr val="accent1"/>
                </a:solidFill>
              </a:defRPr>
            </a:lvl3pPr>
            <a:lvl4pPr>
              <a:defRPr lang="en-US" sz="75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900" dirty="0">
                <a:solidFill>
                  <a:schemeClr val="accent1"/>
                </a:solidFill>
              </a:defRPr>
            </a:lvl6pPr>
            <a:lvl7pPr>
              <a:defRPr lang="en-US" sz="75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07656" y="1027510"/>
            <a:ext cx="1825344" cy="2107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>
                <a:solidFill>
                  <a:schemeClr val="accent1"/>
                </a:solidFill>
              </a:defRPr>
            </a:lvl1pPr>
            <a:lvl2pPr>
              <a:defRPr lang="en-US" sz="900" dirty="0">
                <a:solidFill>
                  <a:schemeClr val="accent1"/>
                </a:solidFill>
              </a:defRPr>
            </a:lvl2pPr>
            <a:lvl3pPr>
              <a:defRPr lang="en-US" sz="900" dirty="0">
                <a:solidFill>
                  <a:schemeClr val="accent1"/>
                </a:solidFill>
              </a:defRPr>
            </a:lvl3pPr>
            <a:lvl4pPr>
              <a:defRPr lang="en-US" sz="75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900" dirty="0">
                <a:solidFill>
                  <a:schemeClr val="accent1"/>
                </a:solidFill>
              </a:defRPr>
            </a:lvl6pPr>
            <a:lvl7pPr>
              <a:defRPr lang="en-US" sz="75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F3658C72-050E-49A9-8A13-07B94D5B9E7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378744"/>
            <a:ext cx="1824750" cy="3158728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1A0351BE-E79F-40A3-8577-E328D3958891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2395800" y="1378744"/>
            <a:ext cx="1824966" cy="3158728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B5182934-6831-4FDC-A7C4-AD9D3815080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501800" y="1378744"/>
            <a:ext cx="1825181" cy="3158728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C472BB61-B63B-4095-8DC2-455C10AA39CF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607800" y="1378744"/>
            <a:ext cx="1825397" cy="3158728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0D54E39-7624-462F-9F80-7DB617C0C73A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42CD21-E3A6-48AE-89E1-78DE4A6A013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8E3CC0-4E20-44A9-BE78-32651EB3DB80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105024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  <p15:guide id="15" pos="5314">
          <p15:clr>
            <a:srgbClr val="547EBF"/>
          </p15:clr>
        </p15:guide>
        <p15:guide id="16" pos="5550">
          <p15:clr>
            <a:srgbClr val="547EB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Intro" type="txAndObj" preserve="1">
  <p:cSld name="Title Content &#10;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3" name="Text Placeholder">
            <a:extLst>
              <a:ext uri="{FF2B5EF4-FFF2-40B4-BE49-F238E27FC236}">
                <a16:creationId xmlns:a16="http://schemas.microsoft.com/office/drawing/2014/main" id="{72A2FDCE-6151-4692-9789-AB95CA61E4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2" y="1027510"/>
            <a:ext cx="8143875" cy="561975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BC68B6CC-90B0-4EEA-B714-6E3AFC295DB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1" y="1729351"/>
            <a:ext cx="8143397" cy="280812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572956B-2CDE-4E6E-830A-3B27344C8F4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756FD2-4F39-4021-9903-850FB63FD85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7ECBC2-1186-4738-BA8D-47F51F71F4A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3405187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335">
          <p15:clr>
            <a:srgbClr val="547EBF"/>
          </p15:clr>
        </p15:guide>
        <p15:guide id="8" orient="horz" pos="1452">
          <p15:clr>
            <a:srgbClr val="547EBF"/>
          </p15:clr>
        </p15:guide>
        <p15:guide id="9" orient="horz" pos="3811">
          <p15:clr>
            <a:srgbClr val="547EBF"/>
          </p15:clr>
        </p15:guide>
        <p15:guide id="11" orient="horz" pos="3958">
          <p15:clr>
            <a:srgbClr val="547EB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Intro" type="twoColTx" preserve="1">
  <p:cSld name="Title 2 Contents &#10;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3" y="1027509"/>
            <a:ext cx="3931678" cy="56160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aseline="0" dirty="0">
                <a:solidFill>
                  <a:schemeClr val="accent1"/>
                </a:solidFill>
              </a:defRPr>
            </a:lvl1pPr>
            <a:lvl2pPr>
              <a:defRPr lang="en-US" sz="1200" baseline="0" dirty="0">
                <a:solidFill>
                  <a:schemeClr val="accent1"/>
                </a:solidFill>
              </a:defRPr>
            </a:lvl2pPr>
            <a:lvl3pPr>
              <a:defRPr lang="en-US" sz="1200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01800" y="1027350"/>
            <a:ext cx="3928336" cy="561600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89800" y="1729350"/>
            <a:ext cx="3931200" cy="280796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501800" y="1729350"/>
            <a:ext cx="3931397" cy="280796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3ACEDA-14D2-4D60-ACDB-D5109573C7D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B44124A-5903-474D-B425-7EC03B538F4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9A5D1A-8FC2-4425-8085-692FBEA2366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0580443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781">
          <p15:clr>
            <a:srgbClr val="547EBF"/>
          </p15:clr>
        </p15:guide>
        <p15:guide id="11" pos="7083">
          <p15:clr>
            <a:srgbClr val="547EBF"/>
          </p15:clr>
        </p15:guide>
        <p15:guide id="12" pos="243">
          <p15:clr>
            <a:srgbClr val="547EB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Intro" preserve="1">
  <p:cSld name="Title 3 Contents &#10;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3" y="1027510"/>
            <a:ext cx="2527678" cy="561443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97800" y="1027510"/>
            <a:ext cx="2525529" cy="561440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07471" y="1027510"/>
            <a:ext cx="2525529" cy="561440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89800" y="1729510"/>
            <a:ext cx="2527200" cy="280796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097800" y="1729350"/>
            <a:ext cx="2527200" cy="280796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905800" y="1729350"/>
            <a:ext cx="2527397" cy="280796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3403440-F3EA-48E6-B8F0-E8964D08C2A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6573ED-A8D1-44BE-89E8-BDC17846C04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1022E9E-7F31-4169-926F-181B429842B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4726507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60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2366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Intro" preserve="1">
  <p:cSld name="Title 4 Contents &#10;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left">
            <a:extLst>
              <a:ext uri="{FF2B5EF4-FFF2-40B4-BE49-F238E27FC236}">
                <a16:creationId xmlns:a16="http://schemas.microsoft.com/office/drawing/2014/main" id="{5FA9E211-8E39-47DD-A16C-2F9499BC7F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3" y="1027510"/>
            <a:ext cx="1825678" cy="526256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>
                <a:solidFill>
                  <a:schemeClr val="accent1"/>
                </a:solidFill>
              </a:defRPr>
            </a:lvl1pPr>
            <a:lvl2pPr>
              <a:defRPr lang="en-US" sz="900" dirty="0">
                <a:solidFill>
                  <a:schemeClr val="accent1"/>
                </a:solidFill>
              </a:defRPr>
            </a:lvl2pPr>
            <a:lvl3pPr>
              <a:defRPr lang="en-US" sz="900" dirty="0">
                <a:solidFill>
                  <a:schemeClr val="accent1"/>
                </a:solidFill>
              </a:defRPr>
            </a:lvl3pPr>
            <a:lvl4pPr>
              <a:defRPr lang="en-US" sz="75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900" dirty="0">
                <a:solidFill>
                  <a:schemeClr val="accent1"/>
                </a:solidFill>
              </a:defRPr>
            </a:lvl6pPr>
            <a:lvl7pPr>
              <a:defRPr lang="en-US" sz="75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</p:txBody>
      </p:sp>
      <p:sp>
        <p:nvSpPr>
          <p:cNvPr id="18" name="Text Placeholder center left">
            <a:extLst>
              <a:ext uri="{FF2B5EF4-FFF2-40B4-BE49-F238E27FC236}">
                <a16:creationId xmlns:a16="http://schemas.microsoft.com/office/drawing/2014/main" id="{2A19C958-E7D0-44A4-B38C-60844D9F66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95800" y="1027351"/>
            <a:ext cx="1824126" cy="526415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>
                <a:solidFill>
                  <a:schemeClr val="accent1"/>
                </a:solidFill>
              </a:defRPr>
            </a:lvl1pPr>
            <a:lvl2pPr>
              <a:defRPr lang="en-US" sz="900" dirty="0">
                <a:solidFill>
                  <a:schemeClr val="accent1"/>
                </a:solidFill>
              </a:defRPr>
            </a:lvl2pPr>
            <a:lvl3pPr>
              <a:defRPr lang="en-US" sz="900" dirty="0">
                <a:solidFill>
                  <a:schemeClr val="accent1"/>
                </a:solidFill>
              </a:defRPr>
            </a:lvl3pPr>
            <a:lvl4pPr>
              <a:defRPr lang="en-US" sz="75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900" dirty="0">
                <a:solidFill>
                  <a:schemeClr val="accent1"/>
                </a:solidFill>
              </a:defRPr>
            </a:lvl6pPr>
            <a:lvl7pPr>
              <a:defRPr lang="en-US" sz="75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</p:txBody>
      </p:sp>
      <p:sp>
        <p:nvSpPr>
          <p:cNvPr id="19" name="Text Placeholder center right">
            <a:extLst>
              <a:ext uri="{FF2B5EF4-FFF2-40B4-BE49-F238E27FC236}">
                <a16:creationId xmlns:a16="http://schemas.microsoft.com/office/drawing/2014/main" id="{8E8876E3-76FC-4ACB-8045-9ACBD3AB98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01800" y="1027510"/>
            <a:ext cx="1824126" cy="526256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>
                <a:solidFill>
                  <a:schemeClr val="accent1"/>
                </a:solidFill>
              </a:defRPr>
            </a:lvl1pPr>
            <a:lvl2pPr>
              <a:defRPr lang="en-US" sz="900" dirty="0">
                <a:solidFill>
                  <a:schemeClr val="accent1"/>
                </a:solidFill>
              </a:defRPr>
            </a:lvl2pPr>
            <a:lvl3pPr>
              <a:defRPr lang="en-US" sz="900" dirty="0">
                <a:solidFill>
                  <a:schemeClr val="accent1"/>
                </a:solidFill>
              </a:defRPr>
            </a:lvl3pPr>
            <a:lvl4pPr>
              <a:defRPr lang="en-US" sz="75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900" dirty="0">
                <a:solidFill>
                  <a:schemeClr val="accent1"/>
                </a:solidFill>
              </a:defRPr>
            </a:lvl6pPr>
            <a:lvl7pPr>
              <a:defRPr lang="en-US" sz="75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</p:txBody>
      </p:sp>
      <p:sp>
        <p:nvSpPr>
          <p:cNvPr id="20" name="Text Placeholder right">
            <a:extLst>
              <a:ext uri="{FF2B5EF4-FFF2-40B4-BE49-F238E27FC236}">
                <a16:creationId xmlns:a16="http://schemas.microsoft.com/office/drawing/2014/main" id="{725A00B6-43EB-4ECA-AF70-EB3B121F05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07656" y="1027510"/>
            <a:ext cx="1825344" cy="526256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>
                <a:solidFill>
                  <a:schemeClr val="accent1"/>
                </a:solidFill>
              </a:defRPr>
            </a:lvl1pPr>
            <a:lvl2pPr>
              <a:defRPr lang="en-US" sz="900" dirty="0">
                <a:solidFill>
                  <a:schemeClr val="accent1"/>
                </a:solidFill>
              </a:defRPr>
            </a:lvl2pPr>
            <a:lvl3pPr>
              <a:defRPr lang="en-US" sz="900" dirty="0">
                <a:solidFill>
                  <a:schemeClr val="accent1"/>
                </a:solidFill>
              </a:defRPr>
            </a:lvl3pPr>
            <a:lvl4pPr>
              <a:defRPr lang="en-US" sz="75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900" dirty="0">
                <a:solidFill>
                  <a:schemeClr val="accent1"/>
                </a:solidFill>
              </a:defRPr>
            </a:lvl6pPr>
            <a:lvl7pPr>
              <a:defRPr lang="en-US" sz="75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0BB2027E-987B-485D-89AA-87365F0151D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728788"/>
            <a:ext cx="1824750" cy="28086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9E46103B-D425-4BC6-A1E6-5704302AEA0A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2395800" y="1728788"/>
            <a:ext cx="1824966" cy="28086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4C5B107C-E832-4C51-99BD-DBFE27272F46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501800" y="1728788"/>
            <a:ext cx="1825181" cy="28086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 dirty="0"/>
              <a:t>Click to 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 dirty="0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 dirty="0"/>
              <a:t>Third level</a:t>
            </a:r>
          </a:p>
          <a:p>
            <a:pPr lvl="3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 dirty="0"/>
              <a:t>Sixth level</a:t>
            </a:r>
          </a:p>
          <a:p>
            <a:pPr lvl="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546E20EC-644E-49F2-9E1F-9546C70449BE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607800" y="1728788"/>
            <a:ext cx="1825397" cy="28086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EDFF9E-C967-40DC-8E03-0995A117EA7C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F72F79-D9B5-4D0A-B162-39508696979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517A76-FB91-4F47-B520-B627D55DBE21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512399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0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1776">
          <p15:clr>
            <a:srgbClr val="547EBF"/>
          </p15:clr>
        </p15:guide>
        <p15:guide id="11" pos="2012">
          <p15:clr>
            <a:srgbClr val="547EBF"/>
          </p15:clr>
        </p15:guide>
        <p15:guide id="12" pos="3545">
          <p15:clr>
            <a:srgbClr val="547EBF"/>
          </p15:clr>
        </p15:guide>
        <p15:guide id="13" pos="3781">
          <p15:clr>
            <a:srgbClr val="547EBF"/>
          </p15:clr>
        </p15:guide>
        <p15:guide id="14" pos="5314">
          <p15:clr>
            <a:srgbClr val="547EBF"/>
          </p15:clr>
        </p15:guide>
        <p15:guide id="15" pos="5550">
          <p15:clr>
            <a:srgbClr val="547EBF"/>
          </p15:clr>
        </p15:guide>
        <p15:guide id="16" pos="7083">
          <p15:clr>
            <a:srgbClr val="547EB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Text" type="objOverTx" preserve="1">
  <p:cSld name="Title Content &#10;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3" y="606028"/>
            <a:ext cx="8143678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89800" y="1027350"/>
            <a:ext cx="8143397" cy="231711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800" y="3484350"/>
            <a:ext cx="8143875" cy="105358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4FC1AD-118A-479F-B6D9-E94E29C8D3F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64B1D0-72DB-448B-852E-084AA83DB1C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C2BB846-FD72-404F-B0F8-B4CBB9109F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870215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2809">
          <p15:clr>
            <a:srgbClr val="547EBF"/>
          </p15:clr>
        </p15:guide>
        <p15:guide id="8" orient="horz" pos="2926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tIns="3600"/>
          <a:lstStyle>
            <a:lvl1pPr>
              <a:lnSpc>
                <a:spcPct val="90000"/>
              </a:lnSpc>
              <a:spcBef>
                <a:spcPts val="277"/>
              </a:spcBef>
              <a:spcAft>
                <a:spcPts val="277"/>
              </a:spcAft>
              <a:defRPr sz="1500" baseline="0">
                <a:solidFill>
                  <a:schemeClr val="accent1"/>
                </a:solidFill>
              </a:defRPr>
            </a:lvl1pPr>
            <a:lvl2pPr>
              <a:lnSpc>
                <a:spcPct val="90000"/>
              </a:lnSpc>
              <a:spcBef>
                <a:spcPts val="277"/>
              </a:spcBef>
              <a:spcAft>
                <a:spcPts val="277"/>
              </a:spcAft>
              <a:defRPr sz="1500" baseline="0">
                <a:solidFill>
                  <a:schemeClr val="accent1"/>
                </a:solidFill>
              </a:defRPr>
            </a:lvl2pPr>
            <a:lvl3pPr>
              <a:lnSpc>
                <a:spcPct val="90000"/>
              </a:lnSpc>
              <a:spcBef>
                <a:spcPts val="277"/>
              </a:spcBef>
              <a:spcAft>
                <a:spcPts val="277"/>
              </a:spcAft>
              <a:defRPr sz="1500" baseline="0">
                <a:solidFill>
                  <a:schemeClr val="accent1"/>
                </a:solidFill>
              </a:defRPr>
            </a:lvl3pPr>
            <a:lvl4pPr>
              <a:lnSpc>
                <a:spcPct val="95000"/>
              </a:lnSpc>
              <a:spcBef>
                <a:spcPts val="277"/>
              </a:spcBef>
              <a:spcAft>
                <a:spcPts val="277"/>
              </a:spcAft>
              <a:defRPr sz="1200" baseline="0">
                <a:solidFill>
                  <a:schemeClr val="accent1"/>
                </a:solidFill>
              </a:defRPr>
            </a:lvl4pPr>
            <a:lvl5pPr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  <a:defRPr sz="900" baseline="0">
                <a:solidFill>
                  <a:schemeClr val="accent1"/>
                </a:solidFill>
              </a:defRPr>
            </a:lvl5pPr>
            <a:lvl6pPr>
              <a:lnSpc>
                <a:spcPct val="90000"/>
              </a:lnSpc>
              <a:spcBef>
                <a:spcPts val="277"/>
              </a:spcBef>
              <a:spcAft>
                <a:spcPts val="277"/>
              </a:spcAft>
              <a:defRPr sz="1500" baseline="0">
                <a:solidFill>
                  <a:schemeClr val="accent1"/>
                </a:solidFill>
              </a:defRPr>
            </a:lvl6pPr>
            <a:lvl7pPr>
              <a:lnSpc>
                <a:spcPct val="95000"/>
              </a:lnSpc>
              <a:spcBef>
                <a:spcPts val="277"/>
              </a:spcBef>
              <a:spcAft>
                <a:spcPts val="277"/>
              </a:spcAft>
              <a:defRPr sz="1200" baseline="0">
                <a:solidFill>
                  <a:schemeClr val="accent1"/>
                </a:solidFill>
              </a:defRPr>
            </a:lvl7pPr>
            <a:lvl8pPr>
              <a:lnSpc>
                <a:spcPct val="95000"/>
              </a:lnSpc>
              <a:spcBef>
                <a:spcPts val="277"/>
              </a:spcBef>
              <a:spcAft>
                <a:spcPts val="277"/>
              </a:spcAft>
              <a:defRPr sz="1200" baseline="0">
                <a:solidFill>
                  <a:schemeClr val="accent1"/>
                </a:solidFill>
              </a:defRPr>
            </a:lvl8pPr>
            <a:lvl9pPr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  <a:defRPr sz="900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95CED1D3-1FC8-4A3D-BC76-3245976F657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027350"/>
            <a:ext cx="8143397" cy="3510122"/>
          </a:xfrm>
        </p:spPr>
        <p:txBody>
          <a:bodyPr/>
          <a:lstStyle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9D5BDC-1173-44FF-AFA5-8F2114E340A1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CE3109-2B52-4738-928A-F7125818F0D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8341C4-4C0D-4BED-9235-74E019B48B8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46FDEC34-FCB4-4EAC-9BEA-21A661EFE34B}"/>
              </a:ext>
            </a:extLst>
          </p:cNvPr>
          <p:cNvSpPr>
            <a:spLocks/>
          </p:cNvSpPr>
          <p:nvPr/>
        </p:nvSpPr>
        <p:spPr bwMode="black">
          <a:xfrm>
            <a:off x="289323" y="4884723"/>
            <a:ext cx="403621" cy="113107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1800" baseline="0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03712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863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3811">
          <p15:clr>
            <a:srgbClr val="547EBF"/>
          </p15:clr>
        </p15:guide>
        <p15:guide id="5" orient="horz" pos="3958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273">
          <p15:clr>
            <a:srgbClr val="547EBF"/>
          </p15:clr>
        </p15:guide>
        <p15:guide id="9" orient="horz" pos="509">
          <p15:clr>
            <a:srgbClr val="547EB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Text" type="twoObjOverTx" preserve="1">
  <p:cSld name="Title 2 Contents &#10;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3" y="606028"/>
            <a:ext cx="8143678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89800" y="1027510"/>
            <a:ext cx="3931200" cy="231644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501800" y="1027510"/>
            <a:ext cx="3931397" cy="231644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3" y="3484507"/>
            <a:ext cx="3931678" cy="1053005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01800" y="3484350"/>
            <a:ext cx="3928336" cy="1053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0FFBE53-5DCA-4779-8AAF-DDEF8984ED0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091EF74-A273-4D9F-BFB8-4F3A848D8DA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0DA29FB-8CE8-4CA8-BAAF-0562B530F84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1504753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3545">
          <p15:clr>
            <a:srgbClr val="547EBF"/>
          </p15:clr>
        </p15:guide>
        <p15:guide id="12" pos="3781">
          <p15:clr>
            <a:srgbClr val="547EB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Text" preserve="1">
  <p:cSld name="Title 3 Contents &#10;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3" y="606028"/>
            <a:ext cx="8143678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89800" y="1027510"/>
            <a:ext cx="2527200" cy="231644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097800" y="1027351"/>
            <a:ext cx="2527200" cy="231644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905800" y="1027351"/>
            <a:ext cx="2527397" cy="231644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3" y="3484348"/>
            <a:ext cx="2527678" cy="105300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97800" y="3484350"/>
            <a:ext cx="2525529" cy="105299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07471" y="3484350"/>
            <a:ext cx="2525529" cy="105299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E5C7900-745E-4006-AAFE-0C3258E3DCE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2F9DF32-2956-4A1E-80B3-89A1D1BB0C3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0A82D22-5BA5-44CE-BE69-87DDF0144BE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6719797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366">
          <p15:clr>
            <a:srgbClr val="547EBF"/>
          </p15:clr>
        </p15:guide>
        <p15:guide id="11" pos="2602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Text" preserve="1">
  <p:cSld name="Title 4 Contents &#10;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3" y="606028"/>
            <a:ext cx="8143678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89800" y="1027351"/>
            <a:ext cx="1825200" cy="2316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395800" y="1027351"/>
            <a:ext cx="1825200" cy="2316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cent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501800" y="1027351"/>
            <a:ext cx="1825200" cy="2316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right">
            <a:extLst>
              <a:ext uri="{FF2B5EF4-FFF2-40B4-BE49-F238E27FC236}">
                <a16:creationId xmlns:a16="http://schemas.microsoft.com/office/drawing/2014/main" id="{9DCB9383-FF8B-4F58-9768-9723C97F0D9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607800" y="1027351"/>
            <a:ext cx="1825397" cy="2316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3" y="3484348"/>
            <a:ext cx="1825678" cy="1052764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95800" y="3483792"/>
            <a:ext cx="1824126" cy="1053559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01800" y="3484350"/>
            <a:ext cx="1824126" cy="1052761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07656" y="3484350"/>
            <a:ext cx="1825344" cy="1052761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896A14B-7708-46D9-8826-69E1E642DEC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74E8C58-8CC0-4477-8D91-E7F3D11137D0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118CE30-E3AA-4912-B632-62F474FEF02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643283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01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243">
          <p15:clr>
            <a:srgbClr val="547EBF"/>
          </p15:clr>
        </p15:guide>
        <p15:guide id="4" pos="7083">
          <p15:clr>
            <a:srgbClr val="547EBF"/>
          </p15:clr>
        </p15:guide>
        <p15:guide id="5" pos="1776">
          <p15:clr>
            <a:srgbClr val="547EBF"/>
          </p15:clr>
        </p15:guide>
        <p15:guide id="6" pos="3545">
          <p15:clr>
            <a:srgbClr val="547EBF"/>
          </p15:clr>
        </p15:guide>
        <p15:guide id="7" pos="3781">
          <p15:clr>
            <a:srgbClr val="547EBF"/>
          </p15:clr>
        </p15:guide>
        <p15:guide id="8" pos="5314">
          <p15:clr>
            <a:srgbClr val="547EBF"/>
          </p15:clr>
        </p15:guide>
        <p15:guide id="9" pos="5550">
          <p15:clr>
            <a:srgbClr val="547EBF"/>
          </p15:clr>
        </p15:guide>
        <p15:guide id="10" orient="horz" pos="509">
          <p15:clr>
            <a:srgbClr val="547EBF"/>
          </p15:clr>
        </p15:guide>
        <p15:guide id="11" orient="horz" pos="745">
          <p15:clr>
            <a:srgbClr val="547EBF"/>
          </p15:clr>
        </p15:guide>
        <p15:guide id="12" orient="horz" pos="863">
          <p15:clr>
            <a:srgbClr val="547EBF"/>
          </p15:clr>
        </p15:guide>
        <p15:guide id="13" orient="horz" pos="2809">
          <p15:clr>
            <a:srgbClr val="547EBF"/>
          </p15:clr>
        </p15:guide>
        <p15:guide id="14" orient="horz" pos="2926">
          <p15:clr>
            <a:srgbClr val="547EBF"/>
          </p15:clr>
        </p15:guide>
        <p15:guide id="15" orient="horz" pos="3811">
          <p15:clr>
            <a:srgbClr val="547EBF"/>
          </p15:clr>
        </p15:guide>
        <p15:guide id="16" orient="horz" pos="3958">
          <p15:clr>
            <a:srgbClr val="547EB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Header right" type="twoObjAndTx" preserve="1">
  <p:cSld name="2 Contents &#10;with Heade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679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89800" y="1027511"/>
            <a:ext cx="3931200" cy="3509802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501800" y="1378743"/>
            <a:ext cx="3931397" cy="3158569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01322" y="1027510"/>
            <a:ext cx="3931678" cy="210741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98ADD4-8AFF-4ACF-93DF-CFB1C5ACF22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4B576C-63CA-4CCA-9DD6-D688BE66DF8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DAFDF3-2398-4828-B505-4DD86880574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90440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Intro right" type="txAndTwoObj" preserve="1">
  <p:cSld name="2 Contents &#10;with Intr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3" y="606028"/>
            <a:ext cx="8143678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89800" y="1027511"/>
            <a:ext cx="3931200" cy="3509802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501800" y="1729350"/>
            <a:ext cx="3931397" cy="2807962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01322" y="1027509"/>
            <a:ext cx="3931678" cy="561602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3FEF96-3E0F-4E0F-AFE2-A69102B82C90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648DFA4-1119-44B7-BD42-A233F866843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DB2CF4-935D-40C6-B1CF-F181FED349E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941359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81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3545">
          <p15:clr>
            <a:srgbClr val="547EBF"/>
          </p15:clr>
        </p15:guide>
        <p15:guide id="9" pos="243">
          <p15:clr>
            <a:srgbClr val="547EBF"/>
          </p15:clr>
        </p15:guide>
        <p15:guide id="10" pos="7083">
          <p15:clr>
            <a:srgbClr val="547EB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right" type="mediaAndTx" preserve="1">
  <p:cSld name="2 Contents &#10;with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3" y="606028"/>
            <a:ext cx="8143678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89800" y="1027511"/>
            <a:ext cx="3931200" cy="3509802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501800" y="1027351"/>
            <a:ext cx="3931397" cy="23166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01322" y="3484209"/>
            <a:ext cx="3931678" cy="1053263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 marL="389813" indent="-214313">
              <a:buNone/>
              <a:defRPr lang="en-US" sz="120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02E3762-0CF3-461E-BD9F-A326B5F02B14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8D85ED-676A-4FEA-9EA2-2C71D76D709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9BEE438-0DDB-4A6A-921F-7BE670E39DC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376995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73">
          <p15:clr>
            <a:srgbClr val="547EBF"/>
          </p15:clr>
        </p15:guide>
        <p15:guide id="2" pos="243">
          <p15:clr>
            <a:srgbClr val="547EBF"/>
          </p15:clr>
        </p15:guide>
        <p15:guide id="3" pos="3545">
          <p15:clr>
            <a:srgbClr val="547EBF"/>
          </p15:clr>
        </p15:guide>
        <p15:guide id="4" pos="3781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509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863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left" type="txAndMedia" preserve="1">
  <p:cSld name="2 Contents &#10;with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3" y="606028"/>
            <a:ext cx="8143678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righ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501800" y="1027350"/>
            <a:ext cx="3931200" cy="3509802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90278" y="1027351"/>
            <a:ext cx="3931397" cy="23166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800" y="3484209"/>
            <a:ext cx="3931678" cy="10532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  <a:lvl2pPr>
              <a:defRPr lang="en-US" dirty="0">
                <a:solidFill>
                  <a:schemeClr val="accent1"/>
                </a:solidFill>
              </a:defRPr>
            </a:lvl2pPr>
            <a:lvl3pPr>
              <a:defRPr lang="en-US" dirty="0">
                <a:solidFill>
                  <a:schemeClr val="accent1"/>
                </a:solidFill>
              </a:defRPr>
            </a:lvl3pPr>
            <a:lvl4pPr>
              <a:defRPr lang="en-US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FD0E28-6962-45CE-B41C-F26C7DD3067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E6ED946-A89F-4642-A6D1-5B220E00CC0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5E1D2E-928D-46A5-A4D0-3B092CC58C3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462949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3811">
          <p15:clr>
            <a:srgbClr val="547EBF"/>
          </p15:clr>
        </p15:guide>
        <p15:guide id="3" pos="3781">
          <p15:clr>
            <a:srgbClr val="547EBF"/>
          </p15:clr>
        </p15:guide>
        <p15:guide id="4" pos="243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273">
          <p15:clr>
            <a:srgbClr val="547EBF"/>
          </p15:clr>
        </p15:guide>
        <p15:guide id="7" orient="horz" pos="509">
          <p15:clr>
            <a:srgbClr val="547EBF"/>
          </p15:clr>
        </p15:guide>
        <p15:guide id="8" orient="horz" pos="745">
          <p15:clr>
            <a:srgbClr val="547EBF"/>
          </p15:clr>
        </p15:guide>
        <p15:guide id="9" orient="horz" pos="863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orient="horz" pos="2809">
          <p15:clr>
            <a:srgbClr val="547EBF"/>
          </p15:clr>
        </p15:guide>
        <p15:guide id="12" orient="horz" pos="2926">
          <p15:clr>
            <a:srgbClr val="547EB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3" y="606028"/>
            <a:ext cx="8143678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31B13F-62D2-42B8-A68D-203BB59F18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909442-E2B8-4A8B-AA29-571D780EA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551B03-B8BB-45BD-8DD9-CBBFCA639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057868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7083">
          <p15:clr>
            <a:srgbClr val="547EB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46804C-5EB1-4AB4-807F-4F6195643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68B026-5796-452E-9BB7-1A7F9A822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7DA69B-C02D-4615-B1EC-D5BA88E01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560173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&#10;client logo" preserve="1">
  <p:cSld name="End slide &#10;client logo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6" name="Hide background Logo">
            <a:extLst>
              <a:ext uri="{FF2B5EF4-FFF2-40B4-BE49-F238E27FC236}">
                <a16:creationId xmlns:a16="http://schemas.microsoft.com/office/drawing/2014/main" id="{0BBDE0D9-3500-40C6-BF15-2E5F5937AA29}"/>
              </a:ext>
            </a:extLst>
          </p:cNvPr>
          <p:cNvSpPr/>
          <p:nvPr/>
        </p:nvSpPr>
        <p:spPr>
          <a:xfrm>
            <a:off x="254700" y="4853250"/>
            <a:ext cx="561600" cy="210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9144000" cy="51435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455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1391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1878" y="2255850"/>
            <a:ext cx="2254922" cy="2281622"/>
          </a:xfrm>
        </p:spPr>
        <p:txBody>
          <a:bodyPr/>
          <a:lstStyle>
            <a:lvl1pPr>
              <a:defRPr sz="4050" b="1" baseline="0">
                <a:solidFill>
                  <a:schemeClr val="bg1"/>
                </a:solidFill>
              </a:defRPr>
            </a:lvl1pPr>
            <a:lvl2pPr>
              <a:defRPr sz="4050" baseline="0">
                <a:solidFill>
                  <a:schemeClr val="bg1"/>
                </a:solidFill>
              </a:defRPr>
            </a:lvl2pPr>
            <a:lvl3pPr>
              <a:defRPr sz="4050" baseline="0">
                <a:solidFill>
                  <a:schemeClr val="bg1"/>
                </a:solidFill>
              </a:defRPr>
            </a:lvl3pPr>
            <a:lvl4pPr>
              <a:defRPr sz="4050" baseline="0">
                <a:solidFill>
                  <a:schemeClr val="bg1"/>
                </a:solidFill>
              </a:defRPr>
            </a:lvl4pPr>
            <a:lvl5pPr>
              <a:defRPr sz="405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s</a:t>
            </a:r>
          </a:p>
          <a:p>
            <a:pPr lvl="1"/>
            <a:endParaRPr lang="en-US" dirty="0"/>
          </a:p>
        </p:txBody>
      </p:sp>
      <p:grpSp>
        <p:nvGrpSpPr>
          <p:cNvPr id="72" name="Graphic 4907">
            <a:extLst>
              <a:ext uri="{FF2B5EF4-FFF2-40B4-BE49-F238E27FC236}">
                <a16:creationId xmlns:a16="http://schemas.microsoft.com/office/drawing/2014/main" id="{0D7CC600-8815-435E-BCE9-8962E8FE163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6533781" y="2381683"/>
            <a:ext cx="249519" cy="34917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73" name="Vrije vorm: vorm 4910">
              <a:extLst>
                <a:ext uri="{FF2B5EF4-FFF2-40B4-BE49-F238E27FC236}">
                  <a16:creationId xmlns:a16="http://schemas.microsoft.com/office/drawing/2014/main" id="{4667D4C7-677C-4A3A-B4D1-47086372E6E5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74" name="Vrije vorm: vorm 4911">
              <a:extLst>
                <a:ext uri="{FF2B5EF4-FFF2-40B4-BE49-F238E27FC236}">
                  <a16:creationId xmlns:a16="http://schemas.microsoft.com/office/drawing/2014/main" id="{C2ECB4BC-FB15-4050-BA3E-C622768A7418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75" name="Graphic 4907">
            <a:extLst>
              <a:ext uri="{FF2B5EF4-FFF2-40B4-BE49-F238E27FC236}">
                <a16:creationId xmlns:a16="http://schemas.microsoft.com/office/drawing/2014/main" id="{0272150B-3831-463C-86BB-43F6D1C0DDB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3725421" y="2375448"/>
            <a:ext cx="284980" cy="349172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76" name="Vrije vorm: vorm 4913">
              <a:extLst>
                <a:ext uri="{FF2B5EF4-FFF2-40B4-BE49-F238E27FC236}">
                  <a16:creationId xmlns:a16="http://schemas.microsoft.com/office/drawing/2014/main" id="{525D3F68-269D-483A-AEB4-A69651138227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77" name="Vrije vorm: vorm 4914">
              <a:extLst>
                <a:ext uri="{FF2B5EF4-FFF2-40B4-BE49-F238E27FC236}">
                  <a16:creationId xmlns:a16="http://schemas.microsoft.com/office/drawing/2014/main" id="{092ED77B-CF3B-48EB-A6B1-DDB90A2417D2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55EAD4-1AE9-430D-9195-B1BDBCDB9274}"/>
              </a:ext>
            </a:extLst>
          </p:cNvPr>
          <p:cNvCxnSpPr>
            <a:cxnSpLocks/>
          </p:cNvCxnSpPr>
          <p:nvPr/>
        </p:nvCxnSpPr>
        <p:spPr>
          <a:xfrm>
            <a:off x="7262200" y="184950"/>
            <a:ext cx="0" cy="6318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MIO_AGENDA_IGNORE_NAVIGATION" hidden="1">
            <a:extLst>
              <a:ext uri="{FF2B5EF4-FFF2-40B4-BE49-F238E27FC236}">
                <a16:creationId xmlns:a16="http://schemas.microsoft.com/office/drawing/2014/main" id="{FCE8ADEB-72DC-48DB-8B77-3DC4FB918EEF}"/>
              </a:ext>
            </a:extLst>
          </p:cNvPr>
          <p:cNvSpPr/>
          <p:nvPr/>
        </p:nvSpPr>
        <p:spPr>
          <a:xfrm>
            <a:off x="8853720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34" name="MIO_AGENDA_IGNORE_CHAPTER_REFERENCE" hidden="1">
            <a:extLst>
              <a:ext uri="{FF2B5EF4-FFF2-40B4-BE49-F238E27FC236}">
                <a16:creationId xmlns:a16="http://schemas.microsoft.com/office/drawing/2014/main" id="{976887AB-5E0A-471B-AFAF-4ACF6D30328F}"/>
              </a:ext>
            </a:extLst>
          </p:cNvPr>
          <p:cNvSpPr/>
          <p:nvPr/>
        </p:nvSpPr>
        <p:spPr>
          <a:xfrm>
            <a:off x="8638184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37" name="MIO_LOGOPLACEHOLDER#Closing" hidden="1">
            <a:extLst>
              <a:ext uri="{FF2B5EF4-FFF2-40B4-BE49-F238E27FC236}">
                <a16:creationId xmlns:a16="http://schemas.microsoft.com/office/drawing/2014/main" id="{2EA46382-E9B6-46AD-9356-4CE8C8139EB1}"/>
              </a:ext>
            </a:extLst>
          </p:cNvPr>
          <p:cNvSpPr/>
          <p:nvPr/>
        </p:nvSpPr>
        <p:spPr>
          <a:xfrm>
            <a:off x="8397900" y="86321"/>
            <a:ext cx="152400" cy="152400"/>
          </a:xfrm>
          <a:prstGeom prst="noSmoking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38" name="MIO_AGENDA_LAST_SLIDE" hidden="1">
            <a:extLst>
              <a:ext uri="{FF2B5EF4-FFF2-40B4-BE49-F238E27FC236}">
                <a16:creationId xmlns:a16="http://schemas.microsoft.com/office/drawing/2014/main" id="{A5ACD32F-853B-4D82-9242-36FD6601B6D6}"/>
              </a:ext>
            </a:extLst>
          </p:cNvPr>
          <p:cNvSpPr/>
          <p:nvPr/>
        </p:nvSpPr>
        <p:spPr>
          <a:xfrm>
            <a:off x="8183820" y="86321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36" name="Logo">
            <a:extLst>
              <a:ext uri="{FF2B5EF4-FFF2-40B4-BE49-F238E27FC236}">
                <a16:creationId xmlns:a16="http://schemas.microsoft.com/office/drawing/2014/main" id="{0281FEA4-9F0E-4A52-BA2D-8F5C196B252E}"/>
              </a:ext>
            </a:extLst>
          </p:cNvPr>
          <p:cNvSpPr>
            <a:spLocks noChangeAspect="1"/>
          </p:cNvSpPr>
          <p:nvPr/>
        </p:nvSpPr>
        <p:spPr bwMode="black">
          <a:xfrm>
            <a:off x="7583931" y="325041"/>
            <a:ext cx="1270748" cy="351309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irstname Lastname">
            <a:extLst>
              <a:ext uri="{FF2B5EF4-FFF2-40B4-BE49-F238E27FC236}">
                <a16:creationId xmlns:a16="http://schemas.microsoft.com/office/drawing/2014/main" id="{3E9243FA-4C12-4776-9DDA-9DED5F4EE9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73082" y="2485990"/>
            <a:ext cx="1732720" cy="131575"/>
          </a:xfrm>
        </p:spPr>
        <p:txBody>
          <a:bodyPr/>
          <a:lstStyle>
            <a:lvl1pPr>
              <a:defRPr sz="900" b="1" i="0" baseline="0">
                <a:solidFill>
                  <a:schemeClr val="bg1"/>
                </a:solidFill>
              </a:defRPr>
            </a:lvl1pPr>
            <a:lvl2pPr>
              <a:defRPr sz="900" baseline="0">
                <a:solidFill>
                  <a:schemeClr val="bg1"/>
                </a:solidFill>
              </a:defRPr>
            </a:lvl2pPr>
            <a:lvl3pPr>
              <a:defRPr sz="900" baseline="0">
                <a:solidFill>
                  <a:schemeClr val="bg1"/>
                </a:solidFill>
              </a:defRPr>
            </a:lvl3pPr>
            <a:lvl4pPr>
              <a:defRPr sz="900" baseline="0">
                <a:solidFill>
                  <a:schemeClr val="bg1"/>
                </a:solidFill>
              </a:defRPr>
            </a:lvl4pPr>
            <a:lvl5pPr>
              <a:defRPr sz="9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39" name="Position and Title">
            <a:extLst>
              <a:ext uri="{FF2B5EF4-FFF2-40B4-BE49-F238E27FC236}">
                <a16:creationId xmlns:a16="http://schemas.microsoft.com/office/drawing/2014/main" id="{CDD47F99-A71C-4684-9C8A-757F62F411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4314" y="2621323"/>
            <a:ext cx="1731185" cy="131575"/>
          </a:xfrm>
        </p:spPr>
        <p:txBody>
          <a:bodyPr/>
          <a:lstStyle>
            <a:lvl1pPr>
              <a:defRPr sz="900" b="1" i="0" baseline="0">
                <a:solidFill>
                  <a:schemeClr val="bg1"/>
                </a:solidFill>
              </a:defRPr>
            </a:lvl1pPr>
            <a:lvl2pPr>
              <a:defRPr sz="900" baseline="0">
                <a:solidFill>
                  <a:schemeClr val="bg1"/>
                </a:solidFill>
              </a:defRPr>
            </a:lvl2pPr>
            <a:lvl3pPr>
              <a:defRPr sz="900" baseline="0">
                <a:solidFill>
                  <a:schemeClr val="bg1"/>
                </a:solidFill>
              </a:defRPr>
            </a:lvl3pPr>
            <a:lvl4pPr>
              <a:defRPr sz="900" baseline="0">
                <a:solidFill>
                  <a:schemeClr val="bg1"/>
                </a:solidFill>
              </a:defRPr>
            </a:lvl4pPr>
            <a:lvl5pPr>
              <a:defRPr sz="9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40" name="Telephone">
            <a:extLst>
              <a:ext uri="{FF2B5EF4-FFF2-40B4-BE49-F238E27FC236}">
                <a16:creationId xmlns:a16="http://schemas.microsoft.com/office/drawing/2014/main" id="{A0ED14EA-5B52-4818-A618-8EA9C11CFA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74314" y="3025447"/>
            <a:ext cx="1987421" cy="131576"/>
          </a:xfrm>
        </p:spPr>
        <p:txBody>
          <a:bodyPr/>
          <a:lstStyle>
            <a:lvl1pPr>
              <a:defRPr sz="900" baseline="0">
                <a:solidFill>
                  <a:schemeClr val="bg1"/>
                </a:solidFill>
              </a:defRPr>
            </a:lvl1pPr>
            <a:lvl2pPr>
              <a:defRPr sz="900" baseline="0">
                <a:solidFill>
                  <a:schemeClr val="bg1"/>
                </a:solidFill>
              </a:defRPr>
            </a:lvl2pPr>
            <a:lvl3pPr>
              <a:defRPr sz="900" baseline="0">
                <a:solidFill>
                  <a:schemeClr val="bg1"/>
                </a:solidFill>
              </a:defRPr>
            </a:lvl3pPr>
            <a:lvl4pPr>
              <a:defRPr sz="900" baseline="0">
                <a:solidFill>
                  <a:schemeClr val="bg1"/>
                </a:solidFill>
              </a:defRPr>
            </a:lvl4pPr>
            <a:lvl5pPr>
              <a:defRPr sz="900" baseline="0">
                <a:solidFill>
                  <a:schemeClr val="bg1"/>
                </a:solidFill>
              </a:defRPr>
            </a:lvl5pPr>
          </a:lstStyle>
          <a:p>
            <a:pPr lvl="0" defTabSz="280800">
              <a:lnSpc>
                <a:spcPct val="95000"/>
              </a:lnSpc>
              <a:spcAft>
                <a:spcPts val="0"/>
              </a:spcAft>
            </a:pPr>
            <a:r>
              <a:rPr lang="en-US" sz="900" b="1" baseline="0" dirty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43" name="Email">
            <a:extLst>
              <a:ext uri="{FF2B5EF4-FFF2-40B4-BE49-F238E27FC236}">
                <a16:creationId xmlns:a16="http://schemas.microsoft.com/office/drawing/2014/main" id="{2F4C36B4-9688-4315-86CA-0EA0915517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74314" y="3157023"/>
            <a:ext cx="1987415" cy="151827"/>
          </a:xfrm>
        </p:spPr>
        <p:txBody>
          <a:bodyPr/>
          <a:lstStyle>
            <a:lvl1pPr defTabSz="280800">
              <a:lnSpc>
                <a:spcPct val="95000"/>
              </a:lnSpc>
              <a:spcAft>
                <a:spcPts val="0"/>
              </a:spcAft>
              <a:defRPr sz="900" b="1" i="0" baseline="0">
                <a:solidFill>
                  <a:schemeClr val="bg1"/>
                </a:solidFill>
              </a:defRPr>
            </a:lvl1pPr>
            <a:lvl2pPr>
              <a:defRPr sz="900" b="1" i="0" baseline="0">
                <a:solidFill>
                  <a:schemeClr val="bg1"/>
                </a:solidFill>
              </a:defRPr>
            </a:lvl2pPr>
            <a:lvl3pPr>
              <a:defRPr sz="900" b="1" i="0" baseline="0">
                <a:solidFill>
                  <a:schemeClr val="bg1"/>
                </a:solidFill>
              </a:defRPr>
            </a:lvl3pPr>
            <a:lvl4pPr>
              <a:defRPr sz="900" b="1" i="0" baseline="0">
                <a:solidFill>
                  <a:schemeClr val="bg1"/>
                </a:solidFill>
              </a:defRPr>
            </a:lvl4pPr>
            <a:lvl5pPr>
              <a:defRPr sz="9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900" b="1" baseline="0" dirty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45" name="Location">
            <a:extLst>
              <a:ext uri="{FF2B5EF4-FFF2-40B4-BE49-F238E27FC236}">
                <a16:creationId xmlns:a16="http://schemas.microsoft.com/office/drawing/2014/main" id="{C0E5E582-CB4C-4554-9A53-74C1E43BF96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70434" y="2487530"/>
            <a:ext cx="1743063" cy="131575"/>
          </a:xfrm>
        </p:spPr>
        <p:txBody>
          <a:bodyPr/>
          <a:lstStyle>
            <a:lvl1pPr>
              <a:defRPr sz="900" b="1" i="0" baseline="0">
                <a:solidFill>
                  <a:schemeClr val="bg1"/>
                </a:solidFill>
              </a:defRPr>
            </a:lvl1pPr>
            <a:lvl2pPr>
              <a:defRPr sz="900" b="1" i="0" baseline="0">
                <a:solidFill>
                  <a:schemeClr val="bg1"/>
                </a:solidFill>
              </a:defRPr>
            </a:lvl2pPr>
            <a:lvl3pPr>
              <a:defRPr sz="900" b="1" i="0" baseline="0">
                <a:solidFill>
                  <a:schemeClr val="bg1"/>
                </a:solidFill>
              </a:defRPr>
            </a:lvl3pPr>
            <a:lvl4pPr>
              <a:defRPr sz="900" b="1" i="0" baseline="0">
                <a:solidFill>
                  <a:schemeClr val="bg1"/>
                </a:solidFill>
              </a:defRPr>
            </a:lvl4pPr>
            <a:lvl5pPr>
              <a:defRPr sz="9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  <a:p>
            <a:pPr lvl="1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4EC8ADC-525E-4679-AFC2-3E71B47EAFA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ABB07B7-3662-4056-81D4-B5989AC29F7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noProof="0"/>
              <a:t>Confidenti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BAF792A-C35A-4C28-BA63-0765F6AD1D0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737705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31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" preserve="1">
  <p:cSld name="End slide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8" name="Hide background Logo">
            <a:extLst>
              <a:ext uri="{FF2B5EF4-FFF2-40B4-BE49-F238E27FC236}">
                <a16:creationId xmlns:a16="http://schemas.microsoft.com/office/drawing/2014/main" id="{0C3579B9-3ADA-4588-BB3E-E3EBFB6BF267}"/>
              </a:ext>
            </a:extLst>
          </p:cNvPr>
          <p:cNvSpPr/>
          <p:nvPr/>
        </p:nvSpPr>
        <p:spPr>
          <a:xfrm>
            <a:off x="254700" y="4853250"/>
            <a:ext cx="561600" cy="210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noFill/>
            </a:endParaRPr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9144000" cy="51435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455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1391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0CD295C-95AB-4825-87D7-B3A7F8DCFDD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9396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9EA2067-06E6-4FB3-A618-7AA7C1C011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190800" y="-44552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9E126F36-B98E-46D3-B603-5E778BC5212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5442000" y="-44508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BC02083-9AF7-4E76-94A4-CD5D9F2E6B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4693200" y="-44464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3BEE4F6-8A6B-4068-B86D-89DFDC70E62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-4442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1878" y="2255850"/>
            <a:ext cx="2254922" cy="2281622"/>
          </a:xfrm>
        </p:spPr>
        <p:txBody>
          <a:bodyPr/>
          <a:lstStyle>
            <a:lvl1pPr>
              <a:defRPr sz="4050" b="1" baseline="0">
                <a:solidFill>
                  <a:schemeClr val="bg1"/>
                </a:solidFill>
              </a:defRPr>
            </a:lvl1pPr>
            <a:lvl2pPr>
              <a:defRPr sz="4050" baseline="0">
                <a:solidFill>
                  <a:schemeClr val="bg1"/>
                </a:solidFill>
              </a:defRPr>
            </a:lvl2pPr>
            <a:lvl3pPr>
              <a:defRPr sz="4050" baseline="0">
                <a:solidFill>
                  <a:schemeClr val="bg1"/>
                </a:solidFill>
              </a:defRPr>
            </a:lvl3pPr>
            <a:lvl4pPr>
              <a:defRPr sz="4050" baseline="0">
                <a:solidFill>
                  <a:schemeClr val="bg1"/>
                </a:solidFill>
              </a:defRPr>
            </a:lvl4pPr>
            <a:lvl5pPr>
              <a:defRPr sz="405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s</a:t>
            </a:r>
          </a:p>
          <a:p>
            <a:pPr lvl="1"/>
            <a:endParaRPr lang="en-US" dirty="0"/>
          </a:p>
        </p:txBody>
      </p:sp>
      <p:sp>
        <p:nvSpPr>
          <p:cNvPr id="39" name="MIO_AGENDA_IGNORE_NAVIGATION" hidden="1">
            <a:extLst>
              <a:ext uri="{FF2B5EF4-FFF2-40B4-BE49-F238E27FC236}">
                <a16:creationId xmlns:a16="http://schemas.microsoft.com/office/drawing/2014/main" id="{C3FBE8F4-38D0-493A-A7BB-33E9441676CE}"/>
              </a:ext>
            </a:extLst>
          </p:cNvPr>
          <p:cNvSpPr/>
          <p:nvPr/>
        </p:nvSpPr>
        <p:spPr>
          <a:xfrm>
            <a:off x="8843100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40" name="MIO_AGENDA_IGNORE_CHAPTER_REFERENCE" hidden="1">
            <a:extLst>
              <a:ext uri="{FF2B5EF4-FFF2-40B4-BE49-F238E27FC236}">
                <a16:creationId xmlns:a16="http://schemas.microsoft.com/office/drawing/2014/main" id="{F94A61A7-7AEE-4282-83AB-F464ED2636DA}"/>
              </a:ext>
            </a:extLst>
          </p:cNvPr>
          <p:cNvSpPr/>
          <p:nvPr/>
        </p:nvSpPr>
        <p:spPr>
          <a:xfrm>
            <a:off x="8638184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43" name="MIO_AGENDA_LAST_SLIDE" hidden="1">
            <a:extLst>
              <a:ext uri="{FF2B5EF4-FFF2-40B4-BE49-F238E27FC236}">
                <a16:creationId xmlns:a16="http://schemas.microsoft.com/office/drawing/2014/main" id="{7049BCE7-7BC9-455B-8C84-08F8B9A0FB1E}"/>
              </a:ext>
            </a:extLst>
          </p:cNvPr>
          <p:cNvSpPr/>
          <p:nvPr/>
        </p:nvSpPr>
        <p:spPr>
          <a:xfrm>
            <a:off x="8183820" y="86321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45" name="Logo">
            <a:extLst>
              <a:ext uri="{FF2B5EF4-FFF2-40B4-BE49-F238E27FC236}">
                <a16:creationId xmlns:a16="http://schemas.microsoft.com/office/drawing/2014/main" id="{562F8F28-5BE4-41C6-8A66-09C03AA22E21}"/>
              </a:ext>
            </a:extLst>
          </p:cNvPr>
          <p:cNvSpPr>
            <a:spLocks noChangeAspect="1"/>
          </p:cNvSpPr>
          <p:nvPr/>
        </p:nvSpPr>
        <p:spPr bwMode="black">
          <a:xfrm>
            <a:off x="7583931" y="325041"/>
            <a:ext cx="1270748" cy="351309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aphic 4907">
            <a:extLst>
              <a:ext uri="{FF2B5EF4-FFF2-40B4-BE49-F238E27FC236}">
                <a16:creationId xmlns:a16="http://schemas.microsoft.com/office/drawing/2014/main" id="{22AFA129-B012-46CD-AC08-0FE087D3976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6533781" y="2381683"/>
            <a:ext cx="249519" cy="34917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47" name="Vrije vorm: vorm 4910">
              <a:extLst>
                <a:ext uri="{FF2B5EF4-FFF2-40B4-BE49-F238E27FC236}">
                  <a16:creationId xmlns:a16="http://schemas.microsoft.com/office/drawing/2014/main" id="{FAC3AB7A-2583-4658-9136-BA324BD78711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54" name="Vrije vorm: vorm 4911">
              <a:extLst>
                <a:ext uri="{FF2B5EF4-FFF2-40B4-BE49-F238E27FC236}">
                  <a16:creationId xmlns:a16="http://schemas.microsoft.com/office/drawing/2014/main" id="{C71F4A9C-FE68-45F4-9759-DC7F9D688760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aphic 4907">
            <a:extLst>
              <a:ext uri="{FF2B5EF4-FFF2-40B4-BE49-F238E27FC236}">
                <a16:creationId xmlns:a16="http://schemas.microsoft.com/office/drawing/2014/main" id="{CB81D5B0-8EBA-4ADA-B97C-1B547263B21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3725421" y="2375448"/>
            <a:ext cx="284980" cy="349172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56" name="Vrije vorm: vorm 4913">
              <a:extLst>
                <a:ext uri="{FF2B5EF4-FFF2-40B4-BE49-F238E27FC236}">
                  <a16:creationId xmlns:a16="http://schemas.microsoft.com/office/drawing/2014/main" id="{D1255CF1-ACFC-4C77-8569-E24B7172CB4D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7" name="Vrije vorm: vorm 4914">
              <a:extLst>
                <a:ext uri="{FF2B5EF4-FFF2-40B4-BE49-F238E27FC236}">
                  <a16:creationId xmlns:a16="http://schemas.microsoft.com/office/drawing/2014/main" id="{D5E9E5AC-F91B-4A84-8FE5-924686616EF7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6" name="Firstname Lastname">
            <a:extLst>
              <a:ext uri="{FF2B5EF4-FFF2-40B4-BE49-F238E27FC236}">
                <a16:creationId xmlns:a16="http://schemas.microsoft.com/office/drawing/2014/main" id="{411E9401-EC09-478E-A9B1-7F39EE0E1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73082" y="2485990"/>
            <a:ext cx="1732720" cy="131575"/>
          </a:xfrm>
        </p:spPr>
        <p:txBody>
          <a:bodyPr/>
          <a:lstStyle>
            <a:lvl1pPr>
              <a:defRPr sz="900" b="1" i="0" baseline="0">
                <a:solidFill>
                  <a:schemeClr val="bg1"/>
                </a:solidFill>
              </a:defRPr>
            </a:lvl1pPr>
            <a:lvl2pPr>
              <a:defRPr sz="900" baseline="0">
                <a:solidFill>
                  <a:schemeClr val="bg1"/>
                </a:solidFill>
              </a:defRPr>
            </a:lvl2pPr>
            <a:lvl3pPr>
              <a:defRPr sz="900" baseline="0">
                <a:solidFill>
                  <a:schemeClr val="bg1"/>
                </a:solidFill>
              </a:defRPr>
            </a:lvl3pPr>
            <a:lvl4pPr>
              <a:defRPr sz="900" baseline="0">
                <a:solidFill>
                  <a:schemeClr val="bg1"/>
                </a:solidFill>
              </a:defRPr>
            </a:lvl4pPr>
            <a:lvl5pPr>
              <a:defRPr sz="9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8" name="Position and Title">
            <a:extLst>
              <a:ext uri="{FF2B5EF4-FFF2-40B4-BE49-F238E27FC236}">
                <a16:creationId xmlns:a16="http://schemas.microsoft.com/office/drawing/2014/main" id="{AA8E0F45-751A-4330-8A52-962E992533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4314" y="2621323"/>
            <a:ext cx="1731185" cy="131575"/>
          </a:xfrm>
        </p:spPr>
        <p:txBody>
          <a:bodyPr/>
          <a:lstStyle>
            <a:lvl1pPr>
              <a:defRPr sz="900" b="1" i="0" baseline="0">
                <a:solidFill>
                  <a:schemeClr val="bg1"/>
                </a:solidFill>
              </a:defRPr>
            </a:lvl1pPr>
            <a:lvl2pPr>
              <a:defRPr sz="900" baseline="0">
                <a:solidFill>
                  <a:schemeClr val="bg1"/>
                </a:solidFill>
              </a:defRPr>
            </a:lvl2pPr>
            <a:lvl3pPr>
              <a:defRPr sz="900" baseline="0">
                <a:solidFill>
                  <a:schemeClr val="bg1"/>
                </a:solidFill>
              </a:defRPr>
            </a:lvl3pPr>
            <a:lvl4pPr>
              <a:defRPr sz="900" baseline="0">
                <a:solidFill>
                  <a:schemeClr val="bg1"/>
                </a:solidFill>
              </a:defRPr>
            </a:lvl4pPr>
            <a:lvl5pPr>
              <a:defRPr sz="9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10" name="Telephone">
            <a:extLst>
              <a:ext uri="{FF2B5EF4-FFF2-40B4-BE49-F238E27FC236}">
                <a16:creationId xmlns:a16="http://schemas.microsoft.com/office/drawing/2014/main" id="{3D171C7F-54D2-4D60-BCFF-93803838E6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74314" y="3025447"/>
            <a:ext cx="1987421" cy="131576"/>
          </a:xfrm>
        </p:spPr>
        <p:txBody>
          <a:bodyPr/>
          <a:lstStyle>
            <a:lvl1pPr>
              <a:defRPr sz="900" baseline="0">
                <a:solidFill>
                  <a:schemeClr val="bg1"/>
                </a:solidFill>
              </a:defRPr>
            </a:lvl1pPr>
            <a:lvl2pPr>
              <a:defRPr sz="900" baseline="0">
                <a:solidFill>
                  <a:schemeClr val="bg1"/>
                </a:solidFill>
              </a:defRPr>
            </a:lvl2pPr>
            <a:lvl3pPr>
              <a:defRPr sz="900" baseline="0">
                <a:solidFill>
                  <a:schemeClr val="bg1"/>
                </a:solidFill>
              </a:defRPr>
            </a:lvl3pPr>
            <a:lvl4pPr>
              <a:defRPr sz="900" baseline="0">
                <a:solidFill>
                  <a:schemeClr val="bg1"/>
                </a:solidFill>
              </a:defRPr>
            </a:lvl4pPr>
            <a:lvl5pPr>
              <a:defRPr sz="900" baseline="0">
                <a:solidFill>
                  <a:schemeClr val="bg1"/>
                </a:solidFill>
              </a:defRPr>
            </a:lvl5pPr>
          </a:lstStyle>
          <a:p>
            <a:pPr lvl="0" defTabSz="280800">
              <a:lnSpc>
                <a:spcPct val="95000"/>
              </a:lnSpc>
              <a:spcAft>
                <a:spcPts val="0"/>
              </a:spcAft>
            </a:pPr>
            <a:r>
              <a:rPr lang="en-US" sz="900" b="1" baseline="0" dirty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13" name="Email">
            <a:extLst>
              <a:ext uri="{FF2B5EF4-FFF2-40B4-BE49-F238E27FC236}">
                <a16:creationId xmlns:a16="http://schemas.microsoft.com/office/drawing/2014/main" id="{0D64B803-F1AC-4FE0-A130-F5E7BB46B0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74314" y="3157023"/>
            <a:ext cx="1987415" cy="151827"/>
          </a:xfrm>
        </p:spPr>
        <p:txBody>
          <a:bodyPr/>
          <a:lstStyle>
            <a:lvl1pPr defTabSz="280800">
              <a:lnSpc>
                <a:spcPct val="95000"/>
              </a:lnSpc>
              <a:spcAft>
                <a:spcPts val="0"/>
              </a:spcAft>
              <a:defRPr sz="900" b="1" i="0" baseline="0">
                <a:solidFill>
                  <a:schemeClr val="bg1"/>
                </a:solidFill>
              </a:defRPr>
            </a:lvl1pPr>
            <a:lvl2pPr>
              <a:defRPr sz="900" b="1" i="0" baseline="0">
                <a:solidFill>
                  <a:schemeClr val="bg1"/>
                </a:solidFill>
              </a:defRPr>
            </a:lvl2pPr>
            <a:lvl3pPr>
              <a:defRPr sz="900" b="1" i="0" baseline="0">
                <a:solidFill>
                  <a:schemeClr val="bg1"/>
                </a:solidFill>
              </a:defRPr>
            </a:lvl3pPr>
            <a:lvl4pPr>
              <a:defRPr sz="900" b="1" i="0" baseline="0">
                <a:solidFill>
                  <a:schemeClr val="bg1"/>
                </a:solidFill>
              </a:defRPr>
            </a:lvl4pPr>
            <a:lvl5pPr>
              <a:defRPr sz="9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900" b="1" baseline="0" dirty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15" name="Location">
            <a:extLst>
              <a:ext uri="{FF2B5EF4-FFF2-40B4-BE49-F238E27FC236}">
                <a16:creationId xmlns:a16="http://schemas.microsoft.com/office/drawing/2014/main" id="{D42C81F4-24AA-4A92-BC47-EAB39A4310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70434" y="2487530"/>
            <a:ext cx="1743063" cy="131575"/>
          </a:xfrm>
        </p:spPr>
        <p:txBody>
          <a:bodyPr/>
          <a:lstStyle>
            <a:lvl1pPr>
              <a:defRPr sz="900" b="1" i="0" baseline="0">
                <a:solidFill>
                  <a:schemeClr val="bg1"/>
                </a:solidFill>
              </a:defRPr>
            </a:lvl1pPr>
            <a:lvl2pPr>
              <a:defRPr sz="900" b="1" i="0" baseline="0">
                <a:solidFill>
                  <a:schemeClr val="bg1"/>
                </a:solidFill>
              </a:defRPr>
            </a:lvl2pPr>
            <a:lvl3pPr>
              <a:defRPr sz="900" b="1" i="0" baseline="0">
                <a:solidFill>
                  <a:schemeClr val="bg1"/>
                </a:solidFill>
              </a:defRPr>
            </a:lvl3pPr>
            <a:lvl4pPr>
              <a:defRPr sz="900" b="1" i="0" baseline="0">
                <a:solidFill>
                  <a:schemeClr val="bg1"/>
                </a:solidFill>
              </a:defRPr>
            </a:lvl4pPr>
            <a:lvl5pPr>
              <a:defRPr sz="9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  <a:p>
            <a:pPr lvl="1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09E070-026E-4274-AAE0-13E74DB3601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805A902-97AB-47D4-B6F2-D811B996FF1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C93483A-7A5D-4EC0-B723-E000C7C69E3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554819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2" preserve="1">
  <p:cSld name="Title Slide 2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1" name="Hide background Logo">
            <a:extLst>
              <a:ext uri="{FF2B5EF4-FFF2-40B4-BE49-F238E27FC236}">
                <a16:creationId xmlns:a16="http://schemas.microsoft.com/office/drawing/2014/main" id="{78140037-05AE-4719-ADE1-27B81AE5C796}"/>
              </a:ext>
            </a:extLst>
          </p:cNvPr>
          <p:cNvSpPr/>
          <p:nvPr/>
        </p:nvSpPr>
        <p:spPr>
          <a:xfrm>
            <a:off x="254700" y="4853250"/>
            <a:ext cx="561600" cy="210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9137210" y="5136710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 noProof="0"/>
              <a:t>Confidential</a:t>
            </a:r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137210" y="5136710"/>
            <a:ext cx="0" cy="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28724634-FC2F-49E4-BF14-FA465D8DEE7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8067950 w 12192000"/>
              <a:gd name="connsiteY0" fmla="*/ 5120150 h 6858000"/>
              <a:gd name="connsiteX1" fmla="*/ 12192000 w 12192000"/>
              <a:gd name="connsiteY1" fmla="*/ 5120150 h 6858000"/>
              <a:gd name="connsiteX2" fmla="*/ 12192000 w 12192000"/>
              <a:gd name="connsiteY2" fmla="*/ 6858000 h 6858000"/>
              <a:gd name="connsiteX3" fmla="*/ 8067950 w 12192000"/>
              <a:gd name="connsiteY3" fmla="*/ 6858000 h 6858000"/>
              <a:gd name="connsiteX4" fmla="*/ 0 w 12192000"/>
              <a:gd name="connsiteY4" fmla="*/ 5120150 h 6858000"/>
              <a:gd name="connsiteX5" fmla="*/ 8061600 w 12192000"/>
              <a:gd name="connsiteY5" fmla="*/ 5120150 h 6858000"/>
              <a:gd name="connsiteX6" fmla="*/ 8061600 w 12192000"/>
              <a:gd name="connsiteY6" fmla="*/ 6858000 h 6858000"/>
              <a:gd name="connsiteX7" fmla="*/ 0 w 12192000"/>
              <a:gd name="connsiteY7" fmla="*/ 6858000 h 6858000"/>
              <a:gd name="connsiteX8" fmla="*/ 806795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5113800 h 6858000"/>
              <a:gd name="connsiteX11" fmla="*/ 8067950 w 12192000"/>
              <a:gd name="connsiteY11" fmla="*/ 5113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67950" y="5120150"/>
                </a:moveTo>
                <a:lnTo>
                  <a:pt x="12192000" y="5120150"/>
                </a:lnTo>
                <a:lnTo>
                  <a:pt x="12192000" y="6858000"/>
                </a:lnTo>
                <a:lnTo>
                  <a:pt x="8067950" y="6858000"/>
                </a:lnTo>
                <a:close/>
                <a:moveTo>
                  <a:pt x="0" y="5120150"/>
                </a:moveTo>
                <a:lnTo>
                  <a:pt x="8061600" y="5120150"/>
                </a:lnTo>
                <a:lnTo>
                  <a:pt x="8061600" y="6858000"/>
                </a:lnTo>
                <a:lnTo>
                  <a:pt x="0" y="6858000"/>
                </a:lnTo>
                <a:close/>
                <a:moveTo>
                  <a:pt x="8067950" y="0"/>
                </a:moveTo>
                <a:lnTo>
                  <a:pt x="12192000" y="0"/>
                </a:lnTo>
                <a:lnTo>
                  <a:pt x="12192000" y="5113800"/>
                </a:lnTo>
                <a:lnTo>
                  <a:pt x="8067950" y="5113800"/>
                </a:lnTo>
                <a:close/>
              </a:path>
            </a:pathLst>
          </a:custGeom>
          <a:noFill/>
        </p:spPr>
        <p:txBody>
          <a:bodyPr vert="horz" wrap="square" lIns="396000" tIns="0" rIns="396000" bIns="468000" rtlCol="0" anchor="ctr" anchorCtr="0">
            <a:noAutofit/>
          </a:bodyPr>
          <a:lstStyle>
            <a:lvl1pPr algn="r">
              <a:defRPr lang="en-US" sz="9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 flipH="1">
            <a:off x="0" y="-9450"/>
            <a:ext cx="9144394" cy="515295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D75BB555-162A-44B2-96BD-4FB1C1A4B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4494652" y="325041"/>
            <a:ext cx="1270748" cy="351309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MIO_AGENDA_IGNORE_NAVIGATION" hidden="1">
            <a:extLst>
              <a:ext uri="{FF2B5EF4-FFF2-40B4-BE49-F238E27FC236}">
                <a16:creationId xmlns:a16="http://schemas.microsoft.com/office/drawing/2014/main" id="{FDC5ACF3-2095-4CCB-B69B-BAAD8356247F}"/>
              </a:ext>
            </a:extLst>
          </p:cNvPr>
          <p:cNvSpPr/>
          <p:nvPr/>
        </p:nvSpPr>
        <p:spPr>
          <a:xfrm>
            <a:off x="8853720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49" name="MIO_AGENDA_IGNORE_CHAPTER_REFERENCE" hidden="1">
            <a:extLst>
              <a:ext uri="{FF2B5EF4-FFF2-40B4-BE49-F238E27FC236}">
                <a16:creationId xmlns:a16="http://schemas.microsoft.com/office/drawing/2014/main" id="{C759E26B-7FE4-470B-BFA8-6BC2F2DCC023}"/>
              </a:ext>
            </a:extLst>
          </p:cNvPr>
          <p:cNvSpPr/>
          <p:nvPr/>
        </p:nvSpPr>
        <p:spPr>
          <a:xfrm>
            <a:off x="8638184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50" name="Date Placeholder">
            <a:extLst>
              <a:ext uri="{FF2B5EF4-FFF2-40B4-BE49-F238E27FC236}">
                <a16:creationId xmlns:a16="http://schemas.microsoft.com/office/drawing/2014/main" id="{647B78B9-A503-40FD-AF98-15AB8F88095A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290195" y="2663589"/>
            <a:ext cx="4387106" cy="364461"/>
          </a:xfrm>
        </p:spPr>
        <p:txBody>
          <a:bodyPr wrap="square" anchor="b">
            <a:spAutoFit/>
          </a:bodyPr>
          <a:lstStyle>
            <a:lvl1pPr algn="l" defTabSz="280800">
              <a:lnSpc>
                <a:spcPct val="95000"/>
              </a:lnSpc>
              <a:spcAft>
                <a:spcPts val="553"/>
              </a:spcAft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56" name="Title">
            <a:extLst>
              <a:ext uri="{FF2B5EF4-FFF2-40B4-BE49-F238E27FC236}">
                <a16:creationId xmlns:a16="http://schemas.microsoft.com/office/drawing/2014/main" id="{C6842291-ECA2-419F-9FDE-5F0D1C885C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0195" y="1518750"/>
            <a:ext cx="4387106" cy="350865"/>
          </a:xfrm>
        </p:spPr>
        <p:txBody>
          <a:bodyPr tIns="0" bIns="0" anchor="b"/>
          <a:lstStyle>
            <a:lvl1pPr algn="l" defTabSz="280800">
              <a:lnSpc>
                <a:spcPct val="95000"/>
              </a:lnSpc>
              <a:spcAft>
                <a:spcPts val="0"/>
              </a:spcAft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ing</a:t>
            </a:r>
          </a:p>
        </p:txBody>
      </p:sp>
      <p:sp>
        <p:nvSpPr>
          <p:cNvPr id="57" name="Subtitle">
            <a:extLst>
              <a:ext uri="{FF2B5EF4-FFF2-40B4-BE49-F238E27FC236}">
                <a16:creationId xmlns:a16="http://schemas.microsoft.com/office/drawing/2014/main" id="{2F1235BC-9462-4616-91F5-2C03AA429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0195" y="1869614"/>
            <a:ext cx="4387106" cy="278838"/>
          </a:xfrm>
        </p:spPr>
        <p:txBody>
          <a:bodyPr wrap="square" tIns="3600">
            <a:noAutofit/>
          </a:bodyPr>
          <a:lstStyle>
            <a:lvl1pPr>
              <a:defRPr sz="1800" b="1" baseline="0">
                <a:solidFill>
                  <a:schemeClr val="bg1"/>
                </a:solidFill>
              </a:defRPr>
            </a:lvl1pPr>
            <a:lvl2pPr>
              <a:defRPr sz="1800" baseline="0"/>
            </a:lvl2pPr>
            <a:lvl3pPr>
              <a:defRPr sz="1800" baseline="0"/>
            </a:lvl3pPr>
            <a:lvl4pPr>
              <a:defRPr sz="1800" baseline="0"/>
            </a:lvl4pPr>
            <a:lvl5pPr>
              <a:defRPr sz="1800" baseline="0"/>
            </a:lvl5pPr>
            <a:lvl6pPr>
              <a:defRPr sz="1800" baseline="0"/>
            </a:lvl6pPr>
            <a:lvl7pPr>
              <a:defRPr sz="1800" baseline="0"/>
            </a:lvl7pPr>
            <a:lvl8pPr>
              <a:defRPr sz="1800" baseline="0"/>
            </a:lvl8pPr>
            <a:lvl9pPr>
              <a:defRPr sz="1800" baseline="0"/>
            </a:lvl9pPr>
          </a:lstStyle>
          <a:p>
            <a:r>
              <a:rPr lang="en-US" dirty="0"/>
              <a:t>Click to edit subheading</a:t>
            </a:r>
          </a:p>
        </p:txBody>
      </p:sp>
      <p:sp>
        <p:nvSpPr>
          <p:cNvPr id="58" name="Firstname Lastname">
            <a:extLst>
              <a:ext uri="{FF2B5EF4-FFF2-40B4-BE49-F238E27FC236}">
                <a16:creationId xmlns:a16="http://schemas.microsoft.com/office/drawing/2014/main" id="{65DFEF20-E93B-4E47-9759-0A3251D2E56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9800" y="2326118"/>
            <a:ext cx="4387500" cy="1734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59" name="Position and Title">
            <a:extLst>
              <a:ext uri="{FF2B5EF4-FFF2-40B4-BE49-F238E27FC236}">
                <a16:creationId xmlns:a16="http://schemas.microsoft.com/office/drawing/2014/main" id="{EDD67CC3-05DB-42F1-8C06-E35E36F16A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9800" y="2501550"/>
            <a:ext cx="4387500" cy="175433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61" name="Location">
            <a:extLst>
              <a:ext uri="{FF2B5EF4-FFF2-40B4-BE49-F238E27FC236}">
                <a16:creationId xmlns:a16="http://schemas.microsoft.com/office/drawing/2014/main" id="{C42A08FB-7D66-4F1F-B6EE-667DA0F0E6F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89800" y="3028050"/>
            <a:ext cx="4387500" cy="175433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62" name="Version">
            <a:extLst>
              <a:ext uri="{FF2B5EF4-FFF2-40B4-BE49-F238E27FC236}">
                <a16:creationId xmlns:a16="http://schemas.microsoft.com/office/drawing/2014/main" id="{0A2C16C9-903A-4D1F-8880-2E77A8AEC44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89800" y="3484350"/>
            <a:ext cx="3650400" cy="2106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9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6694642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395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orient="horz" pos="1570">
          <p15:clr>
            <a:srgbClr val="FFFFFF"/>
          </p15:clr>
        </p15:guide>
        <p15:guide id="4" orient="horz" pos="1806">
          <p15:clr>
            <a:srgbClr val="FFFFFF"/>
          </p15:clr>
        </p15:guide>
        <p15:guide id="5" pos="243">
          <p15:clr>
            <a:srgbClr val="FFFF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1" type="secHead" preserve="1">
  <p:cSld name="Chapter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Hide background Logo">
            <a:extLst>
              <a:ext uri="{FF2B5EF4-FFF2-40B4-BE49-F238E27FC236}">
                <a16:creationId xmlns:a16="http://schemas.microsoft.com/office/drawing/2014/main" id="{9AA93AB3-0D1A-4E84-9AA9-73865D3A1A0A}"/>
              </a:ext>
            </a:extLst>
          </p:cNvPr>
          <p:cNvSpPr/>
          <p:nvPr/>
        </p:nvSpPr>
        <p:spPr>
          <a:xfrm>
            <a:off x="254700" y="4853250"/>
            <a:ext cx="561600" cy="210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>
            <a:off x="0" y="0"/>
            <a:ext cx="9144900" cy="51435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512D9B27-7620-4033-B8DC-DCFE3B066C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86600" y="0"/>
            <a:ext cx="2957400" cy="418635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9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321" y="606150"/>
            <a:ext cx="5616479" cy="14742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40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800" y="2080350"/>
            <a:ext cx="5616000" cy="1053000"/>
          </a:xfrm>
        </p:spPr>
        <p:txBody>
          <a:bodyPr tIns="3600"/>
          <a:lstStyle>
            <a:lvl1pPr>
              <a:lnSpc>
                <a:spcPct val="86000"/>
              </a:lnSpc>
              <a:defRPr sz="4050" baseline="0">
                <a:solidFill>
                  <a:schemeClr val="bg1"/>
                </a:solidFill>
              </a:defRPr>
            </a:lvl1pPr>
            <a:lvl2pPr>
              <a:defRPr sz="1800" baseline="0"/>
            </a:lvl2pPr>
            <a:lvl3pPr>
              <a:defRPr sz="1800" baseline="0"/>
            </a:lvl3pPr>
            <a:lvl4pPr>
              <a:defRPr sz="1800" baseline="0"/>
            </a:lvl4pPr>
            <a:lvl5pPr>
              <a:defRPr sz="1800" baseline="0"/>
            </a:lvl5pPr>
            <a:lvl6pPr>
              <a:defRPr sz="1800" baseline="0"/>
            </a:lvl6pPr>
            <a:lvl7pPr>
              <a:defRPr sz="1800" baseline="0"/>
            </a:lvl7pPr>
            <a:lvl8pPr>
              <a:defRPr sz="1800" baseline="0"/>
            </a:lvl8pPr>
            <a:lvl9pPr>
              <a:defRPr sz="18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88860927-13CA-4929-8F7F-EB0BA3BEB9A3}"/>
              </a:ext>
            </a:extLst>
          </p:cNvPr>
          <p:cNvSpPr/>
          <p:nvPr/>
        </p:nvSpPr>
        <p:spPr>
          <a:xfrm>
            <a:off x="8853720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3F8F58E6-264F-49BF-B46C-3E566C1C4182}"/>
              </a:ext>
            </a:extLst>
          </p:cNvPr>
          <p:cNvSpPr/>
          <p:nvPr/>
        </p:nvSpPr>
        <p:spPr>
          <a:xfrm>
            <a:off x="8638184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22" name="Logo">
            <a:extLst>
              <a:ext uri="{FF2B5EF4-FFF2-40B4-BE49-F238E27FC236}">
                <a16:creationId xmlns:a16="http://schemas.microsoft.com/office/drawing/2014/main" id="{5307DD17-86A9-4B5C-B16C-3B30F4057276}"/>
              </a:ext>
            </a:extLst>
          </p:cNvPr>
          <p:cNvSpPr>
            <a:spLocks/>
          </p:cNvSpPr>
          <p:nvPr/>
        </p:nvSpPr>
        <p:spPr bwMode="black">
          <a:xfrm>
            <a:off x="289323" y="4884723"/>
            <a:ext cx="403621" cy="113107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1800" baseline="0" dirty="0">
              <a:latin typeface="+mn-lt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A08120-FAE8-4FF8-8A74-A6392B5F43E4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6AF603-2E05-4A18-BD07-01E2B59E61B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B2B88A-C108-43E1-99A0-51A5C6561ABA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19368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orient="horz" pos="509">
          <p15:clr>
            <a:srgbClr val="FFFFFF"/>
          </p15:clr>
        </p15:guide>
        <p15:guide id="2" pos="243">
          <p15:clr>
            <a:srgbClr val="FFFFFF"/>
          </p15:clr>
        </p15:guide>
        <p15:guide id="3" pos="4960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2 &#10;light picture" preserve="1">
  <p:cSld name="Chapter Slide 2 &#10;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id Decoration">
            <a:extLst>
              <a:ext uri="{FF2B5EF4-FFF2-40B4-BE49-F238E27FC236}">
                <a16:creationId xmlns:a16="http://schemas.microsoft.com/office/drawing/2014/main" id="{774E18E1-C992-4162-B1EC-0650D0B80336}"/>
              </a:ext>
            </a:extLst>
          </p:cNvPr>
          <p:cNvGrpSpPr/>
          <p:nvPr/>
        </p:nvGrpSpPr>
        <p:grpSpPr bwMode="ltGray">
          <a:xfrm>
            <a:off x="0" y="0"/>
            <a:ext cx="9144900" cy="5143500"/>
            <a:chOff x="0" y="-446400"/>
            <a:chExt cx="12193200" cy="685800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06B1598-EDE8-474C-8616-E3E2BC9D0CB7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AA6FC05-D72B-4CDF-9B4A-9BE92C162CE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6D5A539-C0D0-42F3-A3B4-8CEC059911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6FB3BC4-9371-4632-BD28-7EC33F3167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001F0BA-4780-4F20-803F-796D2E3378D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AB56068-0BA8-4D06-A50F-762DBC25FB2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3E28C3A0-91EB-4D53-81C1-DD748B4B349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63CBFA43-A9E2-41D1-87ED-6D96CE297E4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F9E1E8C-89B5-43FC-BFAD-F6B7083D66B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66AB9E-A9F5-4723-8306-82FCCE684AE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6A8B8685-B671-45FF-BA2F-31E0A822350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 bwMode="ltGray">
          <a:xfrm>
            <a:off x="0" y="0"/>
            <a:ext cx="9144000" cy="5143500"/>
          </a:xfrm>
          <a:custGeom>
            <a:avLst/>
            <a:gdLst>
              <a:gd name="connsiteX0" fmla="*/ 453507 w 12192000"/>
              <a:gd name="connsiteY0" fmla="*/ 6548544 h 6858000"/>
              <a:gd name="connsiteX1" fmla="*/ 466171 w 12192000"/>
              <a:gd name="connsiteY1" fmla="*/ 6607426 h 6858000"/>
              <a:gd name="connsiteX2" fmla="*/ 440212 w 12192000"/>
              <a:gd name="connsiteY2" fmla="*/ 6607426 h 6858000"/>
              <a:gd name="connsiteX3" fmla="*/ 582667 w 12192000"/>
              <a:gd name="connsiteY3" fmla="*/ 6546012 h 6858000"/>
              <a:gd name="connsiteX4" fmla="*/ 576335 w 12192000"/>
              <a:gd name="connsiteY4" fmla="*/ 6601094 h 6858000"/>
              <a:gd name="connsiteX5" fmla="*/ 591531 w 12192000"/>
              <a:gd name="connsiteY5" fmla="*/ 6617556 h 6858000"/>
              <a:gd name="connsiteX6" fmla="*/ 569371 w 12192000"/>
              <a:gd name="connsiteY6" fmla="*/ 6634017 h 6858000"/>
              <a:gd name="connsiteX7" fmla="*/ 529483 w 12192000"/>
              <a:gd name="connsiteY7" fmla="*/ 6619455 h 6858000"/>
              <a:gd name="connsiteX8" fmla="*/ 529483 w 12192000"/>
              <a:gd name="connsiteY8" fmla="*/ 6653645 h 6858000"/>
              <a:gd name="connsiteX9" fmla="*/ 596596 w 12192000"/>
              <a:gd name="connsiteY9" fmla="*/ 6660609 h 6858000"/>
              <a:gd name="connsiteX10" fmla="*/ 635217 w 12192000"/>
              <a:gd name="connsiteY10" fmla="*/ 6618189 h 6858000"/>
              <a:gd name="connsiteX11" fmla="*/ 594696 w 12192000"/>
              <a:gd name="connsiteY11" fmla="*/ 6574503 h 6858000"/>
              <a:gd name="connsiteX12" fmla="*/ 572537 w 12192000"/>
              <a:gd name="connsiteY12" fmla="*/ 6557408 h 6858000"/>
              <a:gd name="connsiteX13" fmla="*/ 582667 w 12192000"/>
              <a:gd name="connsiteY13" fmla="*/ 6546012 h 6858000"/>
              <a:gd name="connsiteX14" fmla="*/ 832120 w 12192000"/>
              <a:gd name="connsiteY14" fmla="*/ 6517521 h 6858000"/>
              <a:gd name="connsiteX15" fmla="*/ 832120 w 12192000"/>
              <a:gd name="connsiteY15" fmla="*/ 6660609 h 6858000"/>
              <a:gd name="connsiteX16" fmla="*/ 923924 w 12192000"/>
              <a:gd name="connsiteY16" fmla="*/ 6660609 h 6858000"/>
              <a:gd name="connsiteX17" fmla="*/ 923924 w 12192000"/>
              <a:gd name="connsiteY17" fmla="*/ 6630852 h 6858000"/>
              <a:gd name="connsiteX18" fmla="*/ 871374 w 12192000"/>
              <a:gd name="connsiteY18" fmla="*/ 6630852 h 6858000"/>
              <a:gd name="connsiteX19" fmla="*/ 871374 w 12192000"/>
              <a:gd name="connsiteY19" fmla="*/ 6517521 h 6858000"/>
              <a:gd name="connsiteX20" fmla="*/ 667506 w 12192000"/>
              <a:gd name="connsiteY20" fmla="*/ 6517521 h 6858000"/>
              <a:gd name="connsiteX21" fmla="*/ 648513 w 12192000"/>
              <a:gd name="connsiteY21" fmla="*/ 6660609 h 6858000"/>
              <a:gd name="connsiteX22" fmla="*/ 689033 w 12192000"/>
              <a:gd name="connsiteY22" fmla="*/ 6660609 h 6858000"/>
              <a:gd name="connsiteX23" fmla="*/ 695997 w 12192000"/>
              <a:gd name="connsiteY23" fmla="*/ 6570071 h 6858000"/>
              <a:gd name="connsiteX24" fmla="*/ 714358 w 12192000"/>
              <a:gd name="connsiteY24" fmla="*/ 6660609 h 6858000"/>
              <a:gd name="connsiteX25" fmla="*/ 746014 w 12192000"/>
              <a:gd name="connsiteY25" fmla="*/ 6660609 h 6858000"/>
              <a:gd name="connsiteX26" fmla="*/ 765009 w 12192000"/>
              <a:gd name="connsiteY26" fmla="*/ 6570071 h 6858000"/>
              <a:gd name="connsiteX27" fmla="*/ 771973 w 12192000"/>
              <a:gd name="connsiteY27" fmla="*/ 6660609 h 6858000"/>
              <a:gd name="connsiteX28" fmla="*/ 812493 w 12192000"/>
              <a:gd name="connsiteY28" fmla="*/ 6660609 h 6858000"/>
              <a:gd name="connsiteX29" fmla="*/ 793500 w 12192000"/>
              <a:gd name="connsiteY29" fmla="*/ 6517521 h 6858000"/>
              <a:gd name="connsiteX30" fmla="*/ 750446 w 12192000"/>
              <a:gd name="connsiteY30" fmla="*/ 6517521 h 6858000"/>
              <a:gd name="connsiteX31" fmla="*/ 730187 w 12192000"/>
              <a:gd name="connsiteY31" fmla="*/ 6603627 h 6858000"/>
              <a:gd name="connsiteX32" fmla="*/ 710559 w 12192000"/>
              <a:gd name="connsiteY32" fmla="*/ 6517521 h 6858000"/>
              <a:gd name="connsiteX33" fmla="*/ 428816 w 12192000"/>
              <a:gd name="connsiteY33" fmla="*/ 6517521 h 6858000"/>
              <a:gd name="connsiteX34" fmla="*/ 385763 w 12192000"/>
              <a:gd name="connsiteY34" fmla="*/ 6660609 h 6858000"/>
              <a:gd name="connsiteX35" fmla="*/ 428816 w 12192000"/>
              <a:gd name="connsiteY35" fmla="*/ 6660609 h 6858000"/>
              <a:gd name="connsiteX36" fmla="*/ 434514 w 12192000"/>
              <a:gd name="connsiteY36" fmla="*/ 6634651 h 6858000"/>
              <a:gd name="connsiteX37" fmla="*/ 471869 w 12192000"/>
              <a:gd name="connsiteY37" fmla="*/ 6634651 h 6858000"/>
              <a:gd name="connsiteX38" fmla="*/ 477567 w 12192000"/>
              <a:gd name="connsiteY38" fmla="*/ 6660609 h 6858000"/>
              <a:gd name="connsiteX39" fmla="*/ 520620 w 12192000"/>
              <a:gd name="connsiteY39" fmla="*/ 6660609 h 6858000"/>
              <a:gd name="connsiteX40" fmla="*/ 477567 w 12192000"/>
              <a:gd name="connsiteY40" fmla="*/ 6517521 h 6858000"/>
              <a:gd name="connsiteX41" fmla="*/ 593728 w 12192000"/>
              <a:gd name="connsiteY41" fmla="*/ 6513050 h 6858000"/>
              <a:gd name="connsiteX42" fmla="*/ 532650 w 12192000"/>
              <a:gd name="connsiteY42" fmla="*/ 6567538 h 6858000"/>
              <a:gd name="connsiteX43" fmla="*/ 624454 w 12192000"/>
              <a:gd name="connsiteY43" fmla="*/ 6557409 h 6858000"/>
              <a:gd name="connsiteX44" fmla="*/ 624454 w 12192000"/>
              <a:gd name="connsiteY44" fmla="*/ 6520054 h 6858000"/>
              <a:gd name="connsiteX45" fmla="*/ 593728 w 12192000"/>
              <a:gd name="connsiteY45" fmla="*/ 6513050 h 6858000"/>
              <a:gd name="connsiteX46" fmla="*/ 8248799 w 12192000"/>
              <a:gd name="connsiteY46" fmla="*/ 5588150 h 6858000"/>
              <a:gd name="connsiteX47" fmla="*/ 12192000 w 12192000"/>
              <a:gd name="connsiteY47" fmla="*/ 5588150 h 6858000"/>
              <a:gd name="connsiteX48" fmla="*/ 12192000 w 12192000"/>
              <a:gd name="connsiteY48" fmla="*/ 6858000 h 6858000"/>
              <a:gd name="connsiteX49" fmla="*/ 8248799 w 12192000"/>
              <a:gd name="connsiteY49" fmla="*/ 6858000 h 6858000"/>
              <a:gd name="connsiteX50" fmla="*/ 0 w 12192000"/>
              <a:gd name="connsiteY50" fmla="*/ 5588150 h 6858000"/>
              <a:gd name="connsiteX51" fmla="*/ 8242449 w 12192000"/>
              <a:gd name="connsiteY51" fmla="*/ 5588150 h 6858000"/>
              <a:gd name="connsiteX52" fmla="*/ 8242449 w 12192000"/>
              <a:gd name="connsiteY52" fmla="*/ 6858000 h 6858000"/>
              <a:gd name="connsiteX53" fmla="*/ 0 w 12192000"/>
              <a:gd name="connsiteY53" fmla="*/ 6858000 h 6858000"/>
              <a:gd name="connsiteX54" fmla="*/ 8248799 w 12192000"/>
              <a:gd name="connsiteY54" fmla="*/ 0 h 6858000"/>
              <a:gd name="connsiteX55" fmla="*/ 12192000 w 12192000"/>
              <a:gd name="connsiteY55" fmla="*/ 0 h 6858000"/>
              <a:gd name="connsiteX56" fmla="*/ 12192000 w 12192000"/>
              <a:gd name="connsiteY56" fmla="*/ 5581800 h 6858000"/>
              <a:gd name="connsiteX57" fmla="*/ 8248799 w 12192000"/>
              <a:gd name="connsiteY57" fmla="*/ 5581800 h 6858000"/>
              <a:gd name="connsiteX58" fmla="*/ 0 w 12192000"/>
              <a:gd name="connsiteY58" fmla="*/ 0 h 6858000"/>
              <a:gd name="connsiteX59" fmla="*/ 8242449 w 12192000"/>
              <a:gd name="connsiteY59" fmla="*/ 0 h 6858000"/>
              <a:gd name="connsiteX60" fmla="*/ 8242449 w 12192000"/>
              <a:gd name="connsiteY60" fmla="*/ 5581800 h 6858000"/>
              <a:gd name="connsiteX61" fmla="*/ 0 w 12192000"/>
              <a:gd name="connsiteY61" fmla="*/ 5581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2192000" h="6858000">
                <a:moveTo>
                  <a:pt x="453507" y="6548544"/>
                </a:moveTo>
                <a:lnTo>
                  <a:pt x="466171" y="6607426"/>
                </a:lnTo>
                <a:lnTo>
                  <a:pt x="440212" y="6607426"/>
                </a:lnTo>
                <a:close/>
                <a:moveTo>
                  <a:pt x="582667" y="6546012"/>
                </a:moveTo>
                <a:cubicBezTo>
                  <a:pt x="554176" y="6549177"/>
                  <a:pt x="544679" y="6584000"/>
                  <a:pt x="576335" y="6601094"/>
                </a:cubicBezTo>
                <a:cubicBezTo>
                  <a:pt x="582034" y="6604260"/>
                  <a:pt x="591531" y="6607426"/>
                  <a:pt x="591531" y="6617556"/>
                </a:cubicBezTo>
                <a:cubicBezTo>
                  <a:pt x="591531" y="6629585"/>
                  <a:pt x="578235" y="6634017"/>
                  <a:pt x="569371" y="6634017"/>
                </a:cubicBezTo>
                <a:cubicBezTo>
                  <a:pt x="554809" y="6634017"/>
                  <a:pt x="542780" y="6628319"/>
                  <a:pt x="529483" y="6619455"/>
                </a:cubicBezTo>
                <a:lnTo>
                  <a:pt x="529483" y="6653645"/>
                </a:lnTo>
                <a:cubicBezTo>
                  <a:pt x="545312" y="6660609"/>
                  <a:pt x="571271" y="6668207"/>
                  <a:pt x="596596" y="6660609"/>
                </a:cubicBezTo>
                <a:cubicBezTo>
                  <a:pt x="617489" y="6654277"/>
                  <a:pt x="635217" y="6636550"/>
                  <a:pt x="635217" y="6618189"/>
                </a:cubicBezTo>
                <a:cubicBezTo>
                  <a:pt x="635851" y="6587165"/>
                  <a:pt x="609258" y="6580201"/>
                  <a:pt x="594696" y="6574503"/>
                </a:cubicBezTo>
                <a:cubicBezTo>
                  <a:pt x="585832" y="6570704"/>
                  <a:pt x="572537" y="6567538"/>
                  <a:pt x="572537" y="6557408"/>
                </a:cubicBezTo>
                <a:cubicBezTo>
                  <a:pt x="572537" y="6552976"/>
                  <a:pt x="574436" y="6548544"/>
                  <a:pt x="582667" y="6546012"/>
                </a:cubicBezTo>
                <a:close/>
                <a:moveTo>
                  <a:pt x="832120" y="6517521"/>
                </a:moveTo>
                <a:lnTo>
                  <a:pt x="832120" y="6660609"/>
                </a:lnTo>
                <a:lnTo>
                  <a:pt x="923924" y="6660609"/>
                </a:lnTo>
                <a:lnTo>
                  <a:pt x="923924" y="6630852"/>
                </a:lnTo>
                <a:lnTo>
                  <a:pt x="871374" y="6630852"/>
                </a:lnTo>
                <a:lnTo>
                  <a:pt x="871374" y="6517521"/>
                </a:lnTo>
                <a:close/>
                <a:moveTo>
                  <a:pt x="667506" y="6517521"/>
                </a:moveTo>
                <a:lnTo>
                  <a:pt x="648513" y="6660609"/>
                </a:lnTo>
                <a:lnTo>
                  <a:pt x="689033" y="6660609"/>
                </a:lnTo>
                <a:lnTo>
                  <a:pt x="695997" y="6570071"/>
                </a:lnTo>
                <a:lnTo>
                  <a:pt x="714358" y="6660609"/>
                </a:lnTo>
                <a:lnTo>
                  <a:pt x="746014" y="6660609"/>
                </a:lnTo>
                <a:lnTo>
                  <a:pt x="765009" y="6570071"/>
                </a:lnTo>
                <a:lnTo>
                  <a:pt x="771973" y="6660609"/>
                </a:lnTo>
                <a:lnTo>
                  <a:pt x="812493" y="6660609"/>
                </a:lnTo>
                <a:lnTo>
                  <a:pt x="793500" y="6517521"/>
                </a:lnTo>
                <a:lnTo>
                  <a:pt x="750446" y="6517521"/>
                </a:lnTo>
                <a:lnTo>
                  <a:pt x="730187" y="6603627"/>
                </a:lnTo>
                <a:lnTo>
                  <a:pt x="710559" y="6517521"/>
                </a:lnTo>
                <a:close/>
                <a:moveTo>
                  <a:pt x="428816" y="6517521"/>
                </a:moveTo>
                <a:lnTo>
                  <a:pt x="385763" y="6660609"/>
                </a:lnTo>
                <a:lnTo>
                  <a:pt x="428816" y="6660609"/>
                </a:lnTo>
                <a:lnTo>
                  <a:pt x="434514" y="6634651"/>
                </a:lnTo>
                <a:lnTo>
                  <a:pt x="471869" y="6634651"/>
                </a:lnTo>
                <a:lnTo>
                  <a:pt x="477567" y="6660609"/>
                </a:lnTo>
                <a:lnTo>
                  <a:pt x="520620" y="6660609"/>
                </a:lnTo>
                <a:lnTo>
                  <a:pt x="477567" y="6517521"/>
                </a:lnTo>
                <a:close/>
                <a:moveTo>
                  <a:pt x="593728" y="6513050"/>
                </a:moveTo>
                <a:cubicBezTo>
                  <a:pt x="560904" y="6511625"/>
                  <a:pt x="526477" y="6527651"/>
                  <a:pt x="532650" y="6567538"/>
                </a:cubicBezTo>
                <a:cubicBezTo>
                  <a:pt x="533283" y="6539048"/>
                  <a:pt x="588999" y="6526385"/>
                  <a:pt x="624454" y="6557409"/>
                </a:cubicBezTo>
                <a:cubicBezTo>
                  <a:pt x="625720" y="6537781"/>
                  <a:pt x="625087" y="6528917"/>
                  <a:pt x="624454" y="6520054"/>
                </a:cubicBezTo>
                <a:cubicBezTo>
                  <a:pt x="615433" y="6515938"/>
                  <a:pt x="604669" y="6513524"/>
                  <a:pt x="593728" y="6513050"/>
                </a:cubicBezTo>
                <a:close/>
                <a:moveTo>
                  <a:pt x="8248799" y="5588150"/>
                </a:moveTo>
                <a:lnTo>
                  <a:pt x="12192000" y="5588150"/>
                </a:lnTo>
                <a:lnTo>
                  <a:pt x="12192000" y="6858000"/>
                </a:lnTo>
                <a:lnTo>
                  <a:pt x="8248799" y="6858000"/>
                </a:lnTo>
                <a:close/>
                <a:moveTo>
                  <a:pt x="0" y="5588150"/>
                </a:moveTo>
                <a:lnTo>
                  <a:pt x="8242449" y="5588150"/>
                </a:lnTo>
                <a:lnTo>
                  <a:pt x="8242449" y="6858000"/>
                </a:lnTo>
                <a:lnTo>
                  <a:pt x="0" y="6858000"/>
                </a:lnTo>
                <a:close/>
                <a:moveTo>
                  <a:pt x="8248799" y="0"/>
                </a:moveTo>
                <a:lnTo>
                  <a:pt x="12192000" y="0"/>
                </a:lnTo>
                <a:lnTo>
                  <a:pt x="12192000" y="5581800"/>
                </a:lnTo>
                <a:lnTo>
                  <a:pt x="8248799" y="5581800"/>
                </a:lnTo>
                <a:close/>
                <a:moveTo>
                  <a:pt x="0" y="0"/>
                </a:moveTo>
                <a:lnTo>
                  <a:pt x="8242449" y="0"/>
                </a:lnTo>
                <a:lnTo>
                  <a:pt x="8242449" y="5581800"/>
                </a:lnTo>
                <a:lnTo>
                  <a:pt x="0" y="5581800"/>
                </a:lnTo>
                <a:close/>
              </a:path>
            </a:pathLst>
          </a:custGeom>
          <a:solidFill>
            <a:schemeClr val="bg1">
              <a:alpha val="75000"/>
            </a:schemeClr>
          </a:solidFill>
          <a:effectLst>
            <a:innerShdw dist="6858000" dir="16200000">
              <a:schemeClr val="bg1">
                <a:alpha val="75000"/>
              </a:schemeClr>
            </a:innerShdw>
          </a:effectLst>
        </p:spPr>
        <p:txBody>
          <a:bodyPr vert="horz" wrap="square" lIns="0" tIns="0" rIns="396000" bIns="0" rtlCol="0" anchor="ctr" anchorCtr="0">
            <a:noAutofit/>
          </a:bodyPr>
          <a:lstStyle>
            <a:lvl1pPr algn="r">
              <a:defRPr lang="en-US" sz="900" dirty="0"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on area to insert picture</a:t>
            </a:r>
          </a:p>
        </p:txBody>
      </p:sp>
      <p:sp>
        <p:nvSpPr>
          <p:cNvPr id="31" name="Subtitle">
            <a:extLst>
              <a:ext uri="{FF2B5EF4-FFF2-40B4-BE49-F238E27FC236}">
                <a16:creationId xmlns:a16="http://schemas.microsoft.com/office/drawing/2014/main" id="{31C5EDE2-43DD-43B3-BB7A-D62CA86A44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800" y="2080350"/>
            <a:ext cx="5616000" cy="1053375"/>
          </a:xfrm>
          <a:custGeom>
            <a:avLst/>
            <a:gdLst>
              <a:gd name="connsiteX0" fmla="*/ 0 w 7488000"/>
              <a:gd name="connsiteY0" fmla="*/ 0 h 1404000"/>
              <a:gd name="connsiteX1" fmla="*/ 7488000 w 7488000"/>
              <a:gd name="connsiteY1" fmla="*/ 0 h 1404000"/>
              <a:gd name="connsiteX2" fmla="*/ 7488000 w 7488000"/>
              <a:gd name="connsiteY2" fmla="*/ 1404000 h 1404000"/>
              <a:gd name="connsiteX3" fmla="*/ 0 w 7488000"/>
              <a:gd name="connsiteY3" fmla="*/ 140400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88000" h="1404000">
                <a:moveTo>
                  <a:pt x="0" y="0"/>
                </a:moveTo>
                <a:lnTo>
                  <a:pt x="7488000" y="0"/>
                </a:lnTo>
                <a:lnTo>
                  <a:pt x="7488000" y="1404000"/>
                </a:lnTo>
                <a:lnTo>
                  <a:pt x="0" y="1404000"/>
                </a:lnTo>
                <a:close/>
              </a:path>
            </a:pathLst>
          </a:custGeom>
        </p:spPr>
        <p:txBody>
          <a:bodyPr wrap="square" tIns="3600">
            <a:noAutofit/>
          </a:bodyPr>
          <a:lstStyle>
            <a:lvl1pPr>
              <a:lnSpc>
                <a:spcPct val="86000"/>
              </a:lnSpc>
              <a:defRPr sz="4050" baseline="0">
                <a:solidFill>
                  <a:schemeClr val="accent1"/>
                </a:solidFill>
              </a:defRPr>
            </a:lvl1pPr>
            <a:lvl2pPr>
              <a:defRPr sz="1800" baseline="0"/>
            </a:lvl2pPr>
            <a:lvl3pPr>
              <a:defRPr sz="1800" baseline="0"/>
            </a:lvl3pPr>
            <a:lvl4pPr>
              <a:defRPr sz="1800" baseline="0"/>
            </a:lvl4pPr>
            <a:lvl5pPr>
              <a:defRPr sz="1800" baseline="0"/>
            </a:lvl5pPr>
            <a:lvl6pPr>
              <a:defRPr sz="1800" baseline="0"/>
            </a:lvl6pPr>
            <a:lvl7pPr>
              <a:defRPr sz="1800" baseline="0"/>
            </a:lvl7pPr>
            <a:lvl8pPr>
              <a:defRPr sz="1800" baseline="0"/>
            </a:lvl8pPr>
            <a:lvl9pPr>
              <a:defRPr sz="18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321" y="606150"/>
            <a:ext cx="5616479" cy="14742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405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7436A9C2-752F-4995-A51D-AE91EE48A611}"/>
              </a:ext>
            </a:extLst>
          </p:cNvPr>
          <p:cNvSpPr/>
          <p:nvPr/>
        </p:nvSpPr>
        <p:spPr>
          <a:xfrm>
            <a:off x="8853720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11E14894-3CE6-409D-A8A1-D4A67320ADD6}"/>
              </a:ext>
            </a:extLst>
          </p:cNvPr>
          <p:cNvSpPr/>
          <p:nvPr/>
        </p:nvSpPr>
        <p:spPr>
          <a:xfrm>
            <a:off x="8638184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4E082-E024-4765-9547-F36CE94FD081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50B8736-DAE3-4494-A952-94C6F86E5DD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1F97BD-6511-40C2-9E6E-92C21C046012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9593997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960">
          <p15:clr>
            <a:srgbClr val="547EBF"/>
          </p15:clr>
        </p15:guide>
        <p15:guide id="2" orient="horz" pos="509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1747">
          <p15:clr>
            <a:srgbClr val="547EBF"/>
          </p15:clr>
        </p15:guide>
        <p15:guide id="5" orient="horz" pos="2632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4" preserve="1">
  <p:cSld name="Chapter Slide 4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Hide background Logo">
            <a:extLst>
              <a:ext uri="{FF2B5EF4-FFF2-40B4-BE49-F238E27FC236}">
                <a16:creationId xmlns:a16="http://schemas.microsoft.com/office/drawing/2014/main" id="{4136C739-EC55-45E2-B880-3847C17CF8BB}"/>
              </a:ext>
            </a:extLst>
          </p:cNvPr>
          <p:cNvSpPr/>
          <p:nvPr/>
        </p:nvSpPr>
        <p:spPr>
          <a:xfrm>
            <a:off x="254700" y="4853250"/>
            <a:ext cx="561600" cy="210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 flipH="1">
            <a:off x="0" y="0"/>
            <a:ext cx="9144900" cy="51435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693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18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35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4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232696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373052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F4DDF64-5C69-4AFA-9635-10096106A64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3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0"/>
            <a:ext cx="3097800" cy="418635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9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78994" y="606150"/>
            <a:ext cx="5335191" cy="14742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40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78994" y="2080350"/>
            <a:ext cx="5335191" cy="1053000"/>
          </a:xfrm>
        </p:spPr>
        <p:txBody>
          <a:bodyPr tIns="3600"/>
          <a:lstStyle>
            <a:lvl1pPr>
              <a:lnSpc>
                <a:spcPct val="86000"/>
              </a:lnSpc>
              <a:defRPr sz="4050" baseline="0">
                <a:solidFill>
                  <a:schemeClr val="bg1"/>
                </a:solidFill>
              </a:defRPr>
            </a:lvl1pPr>
            <a:lvl2pPr>
              <a:defRPr sz="1800" baseline="0"/>
            </a:lvl2pPr>
            <a:lvl3pPr>
              <a:defRPr sz="1800" baseline="0"/>
            </a:lvl3pPr>
            <a:lvl4pPr>
              <a:defRPr sz="1800" baseline="0"/>
            </a:lvl4pPr>
            <a:lvl5pPr>
              <a:defRPr sz="1800" baseline="0"/>
            </a:lvl5pPr>
            <a:lvl6pPr>
              <a:defRPr sz="1800" baseline="0"/>
            </a:lvl6pPr>
            <a:lvl7pPr>
              <a:defRPr sz="1800" baseline="0"/>
            </a:lvl7pPr>
            <a:lvl8pPr>
              <a:defRPr sz="1800" baseline="0"/>
            </a:lvl8pPr>
            <a:lvl9pPr>
              <a:defRPr sz="18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5169554C-ED38-41F8-830C-EF173FD80926}"/>
              </a:ext>
            </a:extLst>
          </p:cNvPr>
          <p:cNvSpPr/>
          <p:nvPr/>
        </p:nvSpPr>
        <p:spPr>
          <a:xfrm>
            <a:off x="8853720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F0815C98-6F33-481C-B400-1F08952FA7B4}"/>
              </a:ext>
            </a:extLst>
          </p:cNvPr>
          <p:cNvSpPr/>
          <p:nvPr/>
        </p:nvSpPr>
        <p:spPr>
          <a:xfrm>
            <a:off x="8638184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23" name="Logo">
            <a:extLst>
              <a:ext uri="{FF2B5EF4-FFF2-40B4-BE49-F238E27FC236}">
                <a16:creationId xmlns:a16="http://schemas.microsoft.com/office/drawing/2014/main" id="{364DBF74-98A0-4E0A-A943-3BF4DFA456E1}"/>
              </a:ext>
            </a:extLst>
          </p:cNvPr>
          <p:cNvSpPr>
            <a:spLocks/>
          </p:cNvSpPr>
          <p:nvPr/>
        </p:nvSpPr>
        <p:spPr bwMode="black">
          <a:xfrm>
            <a:off x="289323" y="4884723"/>
            <a:ext cx="403621" cy="113107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1800" baseline="0" dirty="0">
              <a:latin typeface="+mn-lt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B22322-7498-40F8-BEAB-2B540EAD49E7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1F0FCF-AFC4-4BF8-A68B-2DC81BF170EB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C8B372-2A1E-4510-B277-0C385ECF879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1091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pos="7319">
          <p15:clr>
            <a:srgbClr val="FFFFFF"/>
          </p15:clr>
        </p15:guide>
        <p15:guide id="3" orient="horz" pos="509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" type="twoObj" preserve="1">
  <p:cSld name="Title 2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0CAC78B5-1779-4709-AF35-4B8166EA2A81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027350"/>
            <a:ext cx="3930966" cy="351012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right">
            <a:extLst>
              <a:ext uri="{FF2B5EF4-FFF2-40B4-BE49-F238E27FC236}">
                <a16:creationId xmlns:a16="http://schemas.microsoft.com/office/drawing/2014/main" id="{E89E6773-5B9E-4C7D-B1BE-54C5F7F48326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501800" y="1027350"/>
            <a:ext cx="3931397" cy="351012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FAB5EB7-FEDE-4F62-8CA4-FA996173ABE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9CD819-C2C1-4105-A401-FB1FCBF4F692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16AC08-326C-4149-9875-2CE49F374AC7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88572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" type="objAndTwoObj" preserve="1">
  <p:cSld name="Title 3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  <a:lvl2pPr>
              <a:defRPr lang="en-US" sz="1500" dirty="0">
                <a:solidFill>
                  <a:schemeClr val="accent1"/>
                </a:solidFill>
              </a:defRPr>
            </a:lvl2pPr>
            <a:lvl3pPr>
              <a:defRPr lang="en-US" sz="1500" dirty="0">
                <a:solidFill>
                  <a:schemeClr val="accent1"/>
                </a:solidFill>
              </a:defRPr>
            </a:lvl3pPr>
            <a:lvl4pPr>
              <a:defRPr lang="en-US" sz="1200" dirty="0">
                <a:solidFill>
                  <a:schemeClr val="accent1"/>
                </a:solidFill>
              </a:defRPr>
            </a:lvl4pPr>
            <a:lvl5pPr>
              <a:defRPr lang="en-US" sz="900" dirty="0">
                <a:solidFill>
                  <a:schemeClr val="accent1"/>
                </a:solidFill>
              </a:defRPr>
            </a:lvl5pPr>
            <a:lvl6pPr>
              <a:defRPr lang="en-US" sz="1500" dirty="0">
                <a:solidFill>
                  <a:schemeClr val="accent1"/>
                </a:solidFill>
              </a:defRPr>
            </a:lvl6pPr>
            <a:lvl7pPr>
              <a:defRPr lang="en-US" sz="1200" dirty="0">
                <a:solidFill>
                  <a:schemeClr val="accent1"/>
                </a:solidFill>
              </a:defRPr>
            </a:lvl7pPr>
            <a:lvl8pPr>
              <a:defRPr lang="en-US" sz="1200" dirty="0">
                <a:solidFill>
                  <a:schemeClr val="accent1"/>
                </a:solidFill>
              </a:defRPr>
            </a:lvl8pPr>
            <a:lvl9pPr>
              <a:defRPr lang="en-US" sz="9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F5838B5B-8D44-4948-9685-83EA5B4F67B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027350"/>
            <a:ext cx="2527219" cy="351012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center">
            <a:extLst>
              <a:ext uri="{FF2B5EF4-FFF2-40B4-BE49-F238E27FC236}">
                <a16:creationId xmlns:a16="http://schemas.microsoft.com/office/drawing/2014/main" id="{32BB11D2-EA02-41A0-9EE7-358732E361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097800" y="1027350"/>
            <a:ext cx="2526713" cy="351012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right">
            <a:extLst>
              <a:ext uri="{FF2B5EF4-FFF2-40B4-BE49-F238E27FC236}">
                <a16:creationId xmlns:a16="http://schemas.microsoft.com/office/drawing/2014/main" id="{CF21524C-67FC-4C50-BAB0-4B436AB19D3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5905800" y="1027350"/>
            <a:ext cx="2527397" cy="351012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F283F9-9BAE-49C1-8215-98BC764F262D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085F4D-A4CF-4983-9CA8-23B010115B4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82CEB6-3AF0-4ED5-B22D-724138DD085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156406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pos="7083">
          <p15:clr>
            <a:srgbClr val="547EBF"/>
          </p15:clr>
        </p15:guide>
        <p15:guide id="3" orient="horz" pos="27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2366">
          <p15:clr>
            <a:srgbClr val="547EBF"/>
          </p15:clr>
        </p15:guide>
        <p15:guide id="10" pos="2602">
          <p15:clr>
            <a:srgbClr val="547EBF"/>
          </p15:clr>
        </p15:guide>
        <p15:guide id="11" pos="4724">
          <p15:clr>
            <a:srgbClr val="547EBF"/>
          </p15:clr>
        </p15:guide>
        <p15:guide id="12" pos="4960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6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Logo">
            <a:extLst>
              <a:ext uri="{FF2B5EF4-FFF2-40B4-BE49-F238E27FC236}">
                <a16:creationId xmlns:a16="http://schemas.microsoft.com/office/drawing/2014/main" id="{3C2628D1-2C4E-466C-8ED2-0BBF936C9D6A}"/>
              </a:ext>
            </a:extLst>
          </p:cNvPr>
          <p:cNvSpPr>
            <a:spLocks/>
          </p:cNvSpPr>
          <p:nvPr/>
        </p:nvSpPr>
        <p:spPr bwMode="black">
          <a:xfrm>
            <a:off x="289323" y="4884723"/>
            <a:ext cx="403621" cy="113107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1800" baseline="0" dirty="0">
              <a:latin typeface="+mn-lt"/>
              <a:cs typeface="+mn-cs"/>
            </a:endParaRPr>
          </a:p>
        </p:txBody>
      </p:sp>
      <p:grpSp>
        <p:nvGrpSpPr>
          <p:cNvPr id="5" name="Supporting lines">
            <a:extLst>
              <a:ext uri="{FF2B5EF4-FFF2-40B4-BE49-F238E27FC236}">
                <a16:creationId xmlns:a16="http://schemas.microsoft.com/office/drawing/2014/main" id="{9FB53A73-69D2-4671-A9D6-A17A4290BC4E}"/>
              </a:ext>
            </a:extLst>
          </p:cNvPr>
          <p:cNvGrpSpPr/>
          <p:nvPr/>
        </p:nvGrpSpPr>
        <p:grpSpPr>
          <a:xfrm>
            <a:off x="-96300" y="-95850"/>
            <a:ext cx="9090900" cy="5124600"/>
            <a:chOff x="-128400" y="-127800"/>
            <a:chExt cx="12121200" cy="6832800"/>
          </a:xfrm>
        </p:grpSpPr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02E4C7E6-3387-41F8-9EAD-E47B5A9ECA1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D90A978A-7BAF-49DB-BABC-A990A008804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8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86BBF64-B330-4470-9A1F-E5A4734EF75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6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537A0477-93D8-48A8-A035-9D98267DCD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3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031A1A94-C93E-49F0-B200-89371B61037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0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26AAF536-9BA6-4AFE-9100-FE58B83D236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88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4151686A-15C4-4FFA-961B-4F76D94DB43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25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62E777-8C52-479C-AC60-2C9D5D43FE1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63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53D75036-1DD3-4854-B5B9-6595551F241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007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C7957112-40AF-4ACF-B51F-4C590B37387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381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D4AEF7E8-D2DC-4C57-88BD-3553A56B07D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756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2534FF11-DBBB-413C-8314-F1C8439500E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130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51914CF2-B9C8-42DF-AF06-9236BFFE9C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504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46975562-75F0-4BD4-A751-F473B6A1432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879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617830BB-D9CA-42CE-99C6-66622F1AA11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253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779AC6A6-E6E5-4285-A4EA-35CABC76674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628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DCB627BA-14B2-4460-BD26-FBBD93F039A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002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2B23F7E5-6F7C-4F74-863A-A62D2D396A2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376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0A36211D-106F-4F9D-9F9F-CA0674A5A8C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751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C2CABEE8-FAF4-4440-AF4B-22004B9C277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125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BF0A0087-F3D5-4F3B-A1DF-5B2789DD55A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500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8677234F-1CE8-4B48-955E-1245838A1E0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874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671F9C2D-8377-4DE3-BFFF-118ACDB8F39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248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B0AA66E6-ABA6-4C8F-84CE-FEED5DC95B2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623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7C38C08E-3768-4D40-B253-1BE54C53BB8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997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B46208E7-BDF9-42EE-8F8E-364F4231B30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37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24644024-66E6-49F2-B6F2-53D748DA91D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74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2B410132-405B-4ABA-A92D-420B11E0E17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12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F50FE52E-B465-485B-A2FD-F5D406407B6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9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8D24ADCC-0F7F-4654-87EF-EC655FCE31D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86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1CF4FD21-530C-4ACC-9F46-27D654CF920F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24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AD797CB6-894E-4FCA-881E-5BC1BF9B953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61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E89FFA9F-0A14-4344-BF56-120CBB213BC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99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DA3A1F9D-5070-4758-AEA3-63BFA2645D9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43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FC12C6A6-7BD2-467A-8763-05F4FA0550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8082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C8D367F6-6242-48A1-81AC-25136EA76E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1826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B203129A-3612-420D-BC50-908283471D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36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47B300CA-A1A7-4367-9576-17557304AF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04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AF0368B5-E16D-49D8-82F1-7825D0F2F6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28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E5AD53C-5B62-499E-8A20-3700DE0EDF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517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F1863D99-0BC1-4BDB-8690-56085CBD79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7050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8" name="Content Grid" hidden="1">
            <a:extLst>
              <a:ext uri="{FF2B5EF4-FFF2-40B4-BE49-F238E27FC236}">
                <a16:creationId xmlns:a16="http://schemas.microsoft.com/office/drawing/2014/main" id="{016A9DD2-7240-460D-8F15-EB07954CC749}"/>
              </a:ext>
            </a:extLst>
          </p:cNvPr>
          <p:cNvGrpSpPr>
            <a:grpSpLocks/>
          </p:cNvGrpSpPr>
          <p:nvPr>
            <p:custDataLst>
              <p:tags r:id="rId31"/>
            </p:custDataLst>
          </p:nvPr>
        </p:nvGrpSpPr>
        <p:grpSpPr>
          <a:xfrm>
            <a:off x="289800" y="1027351"/>
            <a:ext cx="8154000" cy="3510122"/>
            <a:chOff x="386400" y="1369800"/>
            <a:chExt cx="10872000" cy="4680163"/>
          </a:xfrm>
        </p:grpSpPr>
        <p:cxnSp>
          <p:nvCxnSpPr>
            <p:cNvPr id="90" name="Straight Connector 89" hidden="1">
              <a:extLst>
                <a:ext uri="{FF2B5EF4-FFF2-40B4-BE49-F238E27FC236}">
                  <a16:creationId xmlns:a16="http://schemas.microsoft.com/office/drawing/2014/main" id="{82832892-2597-4AE7-96D4-621BF4776E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B19210E7-8435-44B0-8CC5-E71D6BDDD7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77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39233C6B-DFD3-4832-8671-4D56EE3A8A0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30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13C16988-56C0-4781-B480-F5CF0F46E9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83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E3D5CB83-557E-41D9-A7E7-CFA309C57AB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1" name="Straight Connector 120" hidden="1">
              <a:extLst>
                <a:ext uri="{FF2B5EF4-FFF2-40B4-BE49-F238E27FC236}">
                  <a16:creationId xmlns:a16="http://schemas.microsoft.com/office/drawing/2014/main" id="{F4B3DCB7-9BA6-446D-B8B7-A43198EFA5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24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11E9F8A6-9BF4-4D3E-8089-DD140A8AF6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70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57CB75BD-D2D9-4256-B5E7-32F489A938B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17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540868F0-DB12-4E17-B1DB-A3FFD300ED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64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A7DD42A3-FD09-4C13-8866-B56B9607FF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11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6FBC1860-5818-42EB-AE1A-9B6D4BA03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58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982A4B0E-EF82-4FCD-B19A-D6995ACD30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604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B29B5915-F6DB-40AA-B721-690E01F8333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A880744-6C30-4956-9500-51EBB5086C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900AD28B-C92E-4F85-8046-E6126B7173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4C33EBF-AD8E-45EA-9B82-65E12E1A2A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3C413DF0-6EC9-487B-B6EF-2769C7D5F0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1370013"/>
              <a:ext cx="0" cy="467995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A4E2AA63-CE89-4893-A45D-7811709C5D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5" name="Straight Connector 134" hidden="1">
              <a:extLst>
                <a:ext uri="{FF2B5EF4-FFF2-40B4-BE49-F238E27FC236}">
                  <a16:creationId xmlns:a16="http://schemas.microsoft.com/office/drawing/2014/main" id="{F631F5B1-A6ED-49B4-91D2-E3947FCBF48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6" name="Straight Connector 135" hidden="1">
              <a:extLst>
                <a:ext uri="{FF2B5EF4-FFF2-40B4-BE49-F238E27FC236}">
                  <a16:creationId xmlns:a16="http://schemas.microsoft.com/office/drawing/2014/main" id="{E84F6276-880E-4D15-8DAF-05D51455AD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626022CA-9F72-4133-B7B9-3E52699C0E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42343559-BFBA-4C3E-9209-D9CAF68152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9" name="Straight Connector 138" hidden="1">
              <a:extLst>
                <a:ext uri="{FF2B5EF4-FFF2-40B4-BE49-F238E27FC236}">
                  <a16:creationId xmlns:a16="http://schemas.microsoft.com/office/drawing/2014/main" id="{D52F67DD-E6B8-4BCD-A1DB-A1D4A8DE8F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0" name="Straight Connector 139" hidden="1">
              <a:extLst>
                <a:ext uri="{FF2B5EF4-FFF2-40B4-BE49-F238E27FC236}">
                  <a16:creationId xmlns:a16="http://schemas.microsoft.com/office/drawing/2014/main" id="{3172709B-D69F-47C4-AC8D-DEF42B156F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1" name="Straight Connector 140" hidden="1">
              <a:extLst>
                <a:ext uri="{FF2B5EF4-FFF2-40B4-BE49-F238E27FC236}">
                  <a16:creationId xmlns:a16="http://schemas.microsoft.com/office/drawing/2014/main" id="{D26E2B03-97E1-48ED-B853-A22EDAE34F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2" name="Straight Connector 141" hidden="1">
              <a:extLst>
                <a:ext uri="{FF2B5EF4-FFF2-40B4-BE49-F238E27FC236}">
                  <a16:creationId xmlns:a16="http://schemas.microsoft.com/office/drawing/2014/main" id="{81F0634A-F5A3-423C-AF13-71056C6024E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5" name="Straight Connector 144" hidden="1">
              <a:extLst>
                <a:ext uri="{FF2B5EF4-FFF2-40B4-BE49-F238E27FC236}">
                  <a16:creationId xmlns:a16="http://schemas.microsoft.com/office/drawing/2014/main" id="{1811074E-FE7B-487A-9DC9-998D7A519F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6" name="Straight Connector 145" hidden="1">
              <a:extLst>
                <a:ext uri="{FF2B5EF4-FFF2-40B4-BE49-F238E27FC236}">
                  <a16:creationId xmlns:a16="http://schemas.microsoft.com/office/drawing/2014/main" id="{4B4651AB-0BCF-47DC-ACA4-AFF3274E361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7" name="Straight Connector 146" hidden="1">
              <a:extLst>
                <a:ext uri="{FF2B5EF4-FFF2-40B4-BE49-F238E27FC236}">
                  <a16:creationId xmlns:a16="http://schemas.microsoft.com/office/drawing/2014/main" id="{BBAF41AC-94C0-4628-831A-7CC54CABA3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8" name="Straight Connector 147" hidden="1">
              <a:extLst>
                <a:ext uri="{FF2B5EF4-FFF2-40B4-BE49-F238E27FC236}">
                  <a16:creationId xmlns:a16="http://schemas.microsoft.com/office/drawing/2014/main" id="{FD5FFD6B-DCBB-4D3F-8A11-8EF149657B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9" name="Straight Connector 148" hidden="1">
              <a:extLst>
                <a:ext uri="{FF2B5EF4-FFF2-40B4-BE49-F238E27FC236}">
                  <a16:creationId xmlns:a16="http://schemas.microsoft.com/office/drawing/2014/main" id="{DDCD2B4B-B680-4E86-BF3C-ED9D58EF6D1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0" name="Straight Connector 149" hidden="1">
              <a:extLst>
                <a:ext uri="{FF2B5EF4-FFF2-40B4-BE49-F238E27FC236}">
                  <a16:creationId xmlns:a16="http://schemas.microsoft.com/office/drawing/2014/main" id="{330D0CD6-750F-4A2A-84CA-61391B3AD5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1" name="Straight Connector 150" hidden="1">
              <a:extLst>
                <a:ext uri="{FF2B5EF4-FFF2-40B4-BE49-F238E27FC236}">
                  <a16:creationId xmlns:a16="http://schemas.microsoft.com/office/drawing/2014/main" id="{7FB36FAA-D5F8-4B20-AB85-A027356E9D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2" name="Straight Connector 151" hidden="1">
              <a:extLst>
                <a:ext uri="{FF2B5EF4-FFF2-40B4-BE49-F238E27FC236}">
                  <a16:creationId xmlns:a16="http://schemas.microsoft.com/office/drawing/2014/main" id="{5E7272A0-3079-4441-B0E3-1B296C406C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3" name="Straight Connector 152" hidden="1">
              <a:extLst>
                <a:ext uri="{FF2B5EF4-FFF2-40B4-BE49-F238E27FC236}">
                  <a16:creationId xmlns:a16="http://schemas.microsoft.com/office/drawing/2014/main" id="{4D6D0597-C4A4-4018-BCE6-4E5755711C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4" name="Straight Connector 153" hidden="1">
              <a:extLst>
                <a:ext uri="{FF2B5EF4-FFF2-40B4-BE49-F238E27FC236}">
                  <a16:creationId xmlns:a16="http://schemas.microsoft.com/office/drawing/2014/main" id="{DFC43681-DD86-42EE-AEBF-C399327C0EC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5" name="Straight Connector 154" hidden="1">
              <a:extLst>
                <a:ext uri="{FF2B5EF4-FFF2-40B4-BE49-F238E27FC236}">
                  <a16:creationId xmlns:a16="http://schemas.microsoft.com/office/drawing/2014/main" id="{75986A3B-7D6F-4591-BFB5-C2B58A0130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6" name="Straight Connector 155" hidden="1">
              <a:extLst>
                <a:ext uri="{FF2B5EF4-FFF2-40B4-BE49-F238E27FC236}">
                  <a16:creationId xmlns:a16="http://schemas.microsoft.com/office/drawing/2014/main" id="{77AF5D60-6A2E-4B7A-B95B-196ED827D67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7" name="Straight Connector 156" hidden="1">
              <a:extLst>
                <a:ext uri="{FF2B5EF4-FFF2-40B4-BE49-F238E27FC236}">
                  <a16:creationId xmlns:a16="http://schemas.microsoft.com/office/drawing/2014/main" id="{FB14D75C-3FC5-49E5-93C7-1E5C8D7EC3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8" name="Straight Connector 157" hidden="1">
              <a:extLst>
                <a:ext uri="{FF2B5EF4-FFF2-40B4-BE49-F238E27FC236}">
                  <a16:creationId xmlns:a16="http://schemas.microsoft.com/office/drawing/2014/main" id="{FA9A6FE9-C426-43BE-B7B1-1A8389C7D7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9" name="Straight Connector 158" hidden="1">
              <a:extLst>
                <a:ext uri="{FF2B5EF4-FFF2-40B4-BE49-F238E27FC236}">
                  <a16:creationId xmlns:a16="http://schemas.microsoft.com/office/drawing/2014/main" id="{CA6FCDE4-C28E-402D-A221-89799E3B2B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00" name="Full Grid" hidden="1">
            <a:extLst>
              <a:ext uri="{FF2B5EF4-FFF2-40B4-BE49-F238E27FC236}">
                <a16:creationId xmlns:a16="http://schemas.microsoft.com/office/drawing/2014/main" id="{EAA655A0-4017-4B47-BA09-845E572DCC48}"/>
              </a:ext>
            </a:extLst>
          </p:cNvPr>
          <p:cNvGrpSpPr/>
          <p:nvPr>
            <p:custDataLst>
              <p:tags r:id="rId32"/>
            </p:custDataLst>
          </p:nvPr>
        </p:nvGrpSpPr>
        <p:grpSpPr>
          <a:xfrm>
            <a:off x="0" y="-52650"/>
            <a:ext cx="9275400" cy="5292000"/>
            <a:chOff x="0" y="-70200"/>
            <a:chExt cx="12367200" cy="7056000"/>
          </a:xfrm>
        </p:grpSpPr>
        <p:cxnSp>
          <p:nvCxnSpPr>
            <p:cNvPr id="301" name="Straight Connector 300" hidden="1">
              <a:extLst>
                <a:ext uri="{FF2B5EF4-FFF2-40B4-BE49-F238E27FC236}">
                  <a16:creationId xmlns:a16="http://schemas.microsoft.com/office/drawing/2014/main" id="{48218EBF-9171-4D8F-A33A-30D1A5E6E3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2" name="Straight Connector 301" hidden="1">
              <a:extLst>
                <a:ext uri="{FF2B5EF4-FFF2-40B4-BE49-F238E27FC236}">
                  <a16:creationId xmlns:a16="http://schemas.microsoft.com/office/drawing/2014/main" id="{6737577C-398F-4B4C-BAB6-A13B2C2B58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3" name="Straight Connector 302" hidden="1">
              <a:extLst>
                <a:ext uri="{FF2B5EF4-FFF2-40B4-BE49-F238E27FC236}">
                  <a16:creationId xmlns:a16="http://schemas.microsoft.com/office/drawing/2014/main" id="{61F3BB77-6340-46D7-AAC4-E788714E876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77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4" name="Straight Connector 303" hidden="1">
              <a:extLst>
                <a:ext uri="{FF2B5EF4-FFF2-40B4-BE49-F238E27FC236}">
                  <a16:creationId xmlns:a16="http://schemas.microsoft.com/office/drawing/2014/main" id="{C32394F9-1C60-48EC-98D6-BA6D5ED17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30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5" name="Straight Connector 304" hidden="1">
              <a:extLst>
                <a:ext uri="{FF2B5EF4-FFF2-40B4-BE49-F238E27FC236}">
                  <a16:creationId xmlns:a16="http://schemas.microsoft.com/office/drawing/2014/main" id="{D2147D71-1001-4518-8300-8371652050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83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6" name="Straight Connector 305" hidden="1">
              <a:extLst>
                <a:ext uri="{FF2B5EF4-FFF2-40B4-BE49-F238E27FC236}">
                  <a16:creationId xmlns:a16="http://schemas.microsoft.com/office/drawing/2014/main" id="{B52B5DD3-B80E-46A0-9CDD-F9D40A5CCB0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36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7" name="Straight Connector 306" hidden="1">
              <a:extLst>
                <a:ext uri="{FF2B5EF4-FFF2-40B4-BE49-F238E27FC236}">
                  <a16:creationId xmlns:a16="http://schemas.microsoft.com/office/drawing/2014/main" id="{DA719995-0220-4BB2-8CE9-727CB2069D4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90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8" name="Straight Connector 307" hidden="1">
              <a:extLst>
                <a:ext uri="{FF2B5EF4-FFF2-40B4-BE49-F238E27FC236}">
                  <a16:creationId xmlns:a16="http://schemas.microsoft.com/office/drawing/2014/main" id="{CB93CB15-9DE5-4A05-ACB3-BD91B4568D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3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9" name="Straight Connector 308" hidden="1">
              <a:extLst>
                <a:ext uri="{FF2B5EF4-FFF2-40B4-BE49-F238E27FC236}">
                  <a16:creationId xmlns:a16="http://schemas.microsoft.com/office/drawing/2014/main" id="{D4F309E9-DB74-430C-A0E2-5F8AE956D99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342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0" name="Straight Connector 309" hidden="1">
              <a:extLst>
                <a:ext uri="{FF2B5EF4-FFF2-40B4-BE49-F238E27FC236}">
                  <a16:creationId xmlns:a16="http://schemas.microsoft.com/office/drawing/2014/main" id="{A8873914-8F40-4E54-9099-FB5894910A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1" name="Straight Connector 310" hidden="1">
              <a:extLst>
                <a:ext uri="{FF2B5EF4-FFF2-40B4-BE49-F238E27FC236}">
                  <a16:creationId xmlns:a16="http://schemas.microsoft.com/office/drawing/2014/main" id="{324289DE-E0F8-4EDF-8B72-39BDB17E1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70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2" name="Straight Connector 311" hidden="1">
              <a:extLst>
                <a:ext uri="{FF2B5EF4-FFF2-40B4-BE49-F238E27FC236}">
                  <a16:creationId xmlns:a16="http://schemas.microsoft.com/office/drawing/2014/main" id="{48D09DFF-3AC1-4238-A369-3803F5127C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17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3" name="Straight Connector 312" hidden="1">
              <a:extLst>
                <a:ext uri="{FF2B5EF4-FFF2-40B4-BE49-F238E27FC236}">
                  <a16:creationId xmlns:a16="http://schemas.microsoft.com/office/drawing/2014/main" id="{5FBC1CD0-5D1F-458C-86D1-49C908FDF4A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64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4" name="Straight Connector 313" hidden="1">
              <a:extLst>
                <a:ext uri="{FF2B5EF4-FFF2-40B4-BE49-F238E27FC236}">
                  <a16:creationId xmlns:a16="http://schemas.microsoft.com/office/drawing/2014/main" id="{817E8046-BB5A-4AAF-BB94-F80CBF2CBC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11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5" name="Straight Connector 314" hidden="1">
              <a:extLst>
                <a:ext uri="{FF2B5EF4-FFF2-40B4-BE49-F238E27FC236}">
                  <a16:creationId xmlns:a16="http://schemas.microsoft.com/office/drawing/2014/main" id="{E58CCB74-4B3A-4398-8878-75D153D312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58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6" name="Straight Connector 315" hidden="1">
              <a:extLst>
                <a:ext uri="{FF2B5EF4-FFF2-40B4-BE49-F238E27FC236}">
                  <a16:creationId xmlns:a16="http://schemas.microsoft.com/office/drawing/2014/main" id="{033D2289-FEDB-4F0D-8850-03176839BB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04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7" name="Straight Connector 316" hidden="1">
              <a:extLst>
                <a:ext uri="{FF2B5EF4-FFF2-40B4-BE49-F238E27FC236}">
                  <a16:creationId xmlns:a16="http://schemas.microsoft.com/office/drawing/2014/main" id="{6FA0C498-337E-4BE4-86D5-0B5AA7FDAF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51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8" name="Straight Connector 317" hidden="1">
              <a:extLst>
                <a:ext uri="{FF2B5EF4-FFF2-40B4-BE49-F238E27FC236}">
                  <a16:creationId xmlns:a16="http://schemas.microsoft.com/office/drawing/2014/main" id="{511FCAB4-B04C-4B4F-8C2C-3777519DA7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9" name="Straight Connector 318" hidden="1">
              <a:extLst>
                <a:ext uri="{FF2B5EF4-FFF2-40B4-BE49-F238E27FC236}">
                  <a16:creationId xmlns:a16="http://schemas.microsoft.com/office/drawing/2014/main" id="{540E4E6F-888E-47F6-A35B-46E6BDB233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0" name="Straight Connector 319" hidden="1">
              <a:extLst>
                <a:ext uri="{FF2B5EF4-FFF2-40B4-BE49-F238E27FC236}">
                  <a16:creationId xmlns:a16="http://schemas.microsoft.com/office/drawing/2014/main" id="{8D783BB6-4F64-4BA0-8CB5-576365009A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1" name="Straight Connector 320" hidden="1">
              <a:extLst>
                <a:ext uri="{FF2B5EF4-FFF2-40B4-BE49-F238E27FC236}">
                  <a16:creationId xmlns:a16="http://schemas.microsoft.com/office/drawing/2014/main" id="{2FB8091E-B86B-40C7-B438-5A8DAF3F373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2" name="Straight Connector 321" hidden="1">
              <a:extLst>
                <a:ext uri="{FF2B5EF4-FFF2-40B4-BE49-F238E27FC236}">
                  <a16:creationId xmlns:a16="http://schemas.microsoft.com/office/drawing/2014/main" id="{1C622E4C-DE1D-4D72-950C-F6F7F503C7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3" name="Straight Connector 322" hidden="1">
              <a:extLst>
                <a:ext uri="{FF2B5EF4-FFF2-40B4-BE49-F238E27FC236}">
                  <a16:creationId xmlns:a16="http://schemas.microsoft.com/office/drawing/2014/main" id="{E85C9C77-EDDE-4053-851F-97775DB15B3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4" name="Straight Connector 323" hidden="1">
              <a:extLst>
                <a:ext uri="{FF2B5EF4-FFF2-40B4-BE49-F238E27FC236}">
                  <a16:creationId xmlns:a16="http://schemas.microsoft.com/office/drawing/2014/main" id="{EDE7F48D-D148-4BD3-9B5A-E9082189498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5" name="Straight Connector 324" hidden="1">
              <a:extLst>
                <a:ext uri="{FF2B5EF4-FFF2-40B4-BE49-F238E27FC236}">
                  <a16:creationId xmlns:a16="http://schemas.microsoft.com/office/drawing/2014/main" id="{8119006E-21FF-40D5-AD9A-E735C49E71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6" name="Straight Connector 325" hidden="1">
              <a:extLst>
                <a:ext uri="{FF2B5EF4-FFF2-40B4-BE49-F238E27FC236}">
                  <a16:creationId xmlns:a16="http://schemas.microsoft.com/office/drawing/2014/main" id="{FF71DEC0-BA85-47AC-9B05-C43CBFEA95E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7" name="Straight Connector 326" hidden="1">
              <a:extLst>
                <a:ext uri="{FF2B5EF4-FFF2-40B4-BE49-F238E27FC236}">
                  <a16:creationId xmlns:a16="http://schemas.microsoft.com/office/drawing/2014/main" id="{4995F406-2D81-4563-A04C-156ED74282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8" name="Straight Connector 327" hidden="1">
              <a:extLst>
                <a:ext uri="{FF2B5EF4-FFF2-40B4-BE49-F238E27FC236}">
                  <a16:creationId xmlns:a16="http://schemas.microsoft.com/office/drawing/2014/main" id="{71FB6C91-9BEA-4E57-B92F-4BE3DAC3BD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9" name="Straight Connector 328" hidden="1">
              <a:extLst>
                <a:ext uri="{FF2B5EF4-FFF2-40B4-BE49-F238E27FC236}">
                  <a16:creationId xmlns:a16="http://schemas.microsoft.com/office/drawing/2014/main" id="{AAF24AF1-EEAD-4D90-965C-9AE126504AD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0" name="Straight Connector 329" hidden="1">
              <a:extLst>
                <a:ext uri="{FF2B5EF4-FFF2-40B4-BE49-F238E27FC236}">
                  <a16:creationId xmlns:a16="http://schemas.microsoft.com/office/drawing/2014/main" id="{2BE91DA1-C8BE-44DC-8452-324FE5B387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1" name="Straight Connector 330" hidden="1">
              <a:extLst>
                <a:ext uri="{FF2B5EF4-FFF2-40B4-BE49-F238E27FC236}">
                  <a16:creationId xmlns:a16="http://schemas.microsoft.com/office/drawing/2014/main" id="{B57928EE-5A2E-47A4-86C8-8E08B795D6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2" name="Straight Connector 331" hidden="1">
              <a:extLst>
                <a:ext uri="{FF2B5EF4-FFF2-40B4-BE49-F238E27FC236}">
                  <a16:creationId xmlns:a16="http://schemas.microsoft.com/office/drawing/2014/main" id="{90817F6C-93C7-4A2F-844D-EEC0864B49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61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3" name="Straight Connector 332" hidden="1">
              <a:extLst>
                <a:ext uri="{FF2B5EF4-FFF2-40B4-BE49-F238E27FC236}">
                  <a16:creationId xmlns:a16="http://schemas.microsoft.com/office/drawing/2014/main" id="{A824F516-3C62-4A83-8A2F-C597C14585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99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4" name="Straight Connector 333" hidden="1">
              <a:extLst>
                <a:ext uri="{FF2B5EF4-FFF2-40B4-BE49-F238E27FC236}">
                  <a16:creationId xmlns:a16="http://schemas.microsoft.com/office/drawing/2014/main" id="{575C7B0F-53E6-404C-A096-E20F0508E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5" name="Straight Connector 334" hidden="1">
              <a:extLst>
                <a:ext uri="{FF2B5EF4-FFF2-40B4-BE49-F238E27FC236}">
                  <a16:creationId xmlns:a16="http://schemas.microsoft.com/office/drawing/2014/main" id="{EEBDA4A6-D35F-4D08-87C9-B93A6EAF40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6" name="Straight Connector 335" hidden="1">
              <a:extLst>
                <a:ext uri="{FF2B5EF4-FFF2-40B4-BE49-F238E27FC236}">
                  <a16:creationId xmlns:a16="http://schemas.microsoft.com/office/drawing/2014/main" id="{627F72B9-76BF-4391-9BC9-E3B85369D8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7" name="Straight Connector 336" hidden="1">
              <a:extLst>
                <a:ext uri="{FF2B5EF4-FFF2-40B4-BE49-F238E27FC236}">
                  <a16:creationId xmlns:a16="http://schemas.microsoft.com/office/drawing/2014/main" id="{F31F1370-C081-4B29-83D7-DB2A4E73AC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8" name="Straight Connector 337" hidden="1">
              <a:extLst>
                <a:ext uri="{FF2B5EF4-FFF2-40B4-BE49-F238E27FC236}">
                  <a16:creationId xmlns:a16="http://schemas.microsoft.com/office/drawing/2014/main" id="{DB23C504-C3EB-442F-81C4-06CEFB43D0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9" name="Straight Connector 338" hidden="1">
              <a:extLst>
                <a:ext uri="{FF2B5EF4-FFF2-40B4-BE49-F238E27FC236}">
                  <a16:creationId xmlns:a16="http://schemas.microsoft.com/office/drawing/2014/main" id="{8F2E88F4-224A-4DF8-A1AD-E99EE2D28BE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0" name="Straight Connector 339" hidden="1">
              <a:extLst>
                <a:ext uri="{FF2B5EF4-FFF2-40B4-BE49-F238E27FC236}">
                  <a16:creationId xmlns:a16="http://schemas.microsoft.com/office/drawing/2014/main" id="{C5EAE255-8630-4283-BDD8-6EE7C540D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1" name="Straight Connector 340" hidden="1">
              <a:extLst>
                <a:ext uri="{FF2B5EF4-FFF2-40B4-BE49-F238E27FC236}">
                  <a16:creationId xmlns:a16="http://schemas.microsoft.com/office/drawing/2014/main" id="{A561162D-47AF-4E01-B81F-CD78A03E1B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2" name="Straight Connector 341" hidden="1">
              <a:extLst>
                <a:ext uri="{FF2B5EF4-FFF2-40B4-BE49-F238E27FC236}">
                  <a16:creationId xmlns:a16="http://schemas.microsoft.com/office/drawing/2014/main" id="{2C20074D-4C49-46CB-9931-819778D38C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3" name="Straight Connector 342" hidden="1">
              <a:extLst>
                <a:ext uri="{FF2B5EF4-FFF2-40B4-BE49-F238E27FC236}">
                  <a16:creationId xmlns:a16="http://schemas.microsoft.com/office/drawing/2014/main" id="{062FA2EE-A4D8-4A37-BB39-9A8A23ABE25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4" name="Straight Connector 343" hidden="1">
              <a:extLst>
                <a:ext uri="{FF2B5EF4-FFF2-40B4-BE49-F238E27FC236}">
                  <a16:creationId xmlns:a16="http://schemas.microsoft.com/office/drawing/2014/main" id="{6C661B57-DBAB-41A7-B2AC-C814132D30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5" name="Straight Connector 344" hidden="1">
              <a:extLst>
                <a:ext uri="{FF2B5EF4-FFF2-40B4-BE49-F238E27FC236}">
                  <a16:creationId xmlns:a16="http://schemas.microsoft.com/office/drawing/2014/main" id="{209F4A46-4D75-4F8F-88B9-BE8F6A463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6" name="Straight Connector 345" hidden="1">
              <a:extLst>
                <a:ext uri="{FF2B5EF4-FFF2-40B4-BE49-F238E27FC236}">
                  <a16:creationId xmlns:a16="http://schemas.microsoft.com/office/drawing/2014/main" id="{01FB4020-8697-49A5-812E-93760AA24DB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7" name="Straight Connector 346" hidden="1">
              <a:extLst>
                <a:ext uri="{FF2B5EF4-FFF2-40B4-BE49-F238E27FC236}">
                  <a16:creationId xmlns:a16="http://schemas.microsoft.com/office/drawing/2014/main" id="{AB981469-9BFE-432D-A134-6F34C8ECD1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8" name="Straight Connector 347" hidden="1">
              <a:extLst>
                <a:ext uri="{FF2B5EF4-FFF2-40B4-BE49-F238E27FC236}">
                  <a16:creationId xmlns:a16="http://schemas.microsoft.com/office/drawing/2014/main" id="{64F910DD-E3AB-4094-BD87-390D194861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9" name="Straight Connector 348" hidden="1">
              <a:extLst>
                <a:ext uri="{FF2B5EF4-FFF2-40B4-BE49-F238E27FC236}">
                  <a16:creationId xmlns:a16="http://schemas.microsoft.com/office/drawing/2014/main" id="{8172B6B2-B6E9-42F2-9E21-D99612FECB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6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0" name="Straight Connector 349" hidden="1">
              <a:extLst>
                <a:ext uri="{FF2B5EF4-FFF2-40B4-BE49-F238E27FC236}">
                  <a16:creationId xmlns:a16="http://schemas.microsoft.com/office/drawing/2014/main" id="{FF9B3914-70C1-4B52-B02C-76628BFC9B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1" name="Straight Connector 350" hidden="1">
              <a:extLst>
                <a:ext uri="{FF2B5EF4-FFF2-40B4-BE49-F238E27FC236}">
                  <a16:creationId xmlns:a16="http://schemas.microsoft.com/office/drawing/2014/main" id="{FFD30D47-D357-4EF4-A460-4DCBFC957D2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6985800"/>
              <a:ext cx="123672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 useBgFill="1">
        <p:nvSpPr>
          <p:cNvPr id="3" name="Title Placeholder">
            <a:extLst>
              <a:ext uri="{FF2B5EF4-FFF2-40B4-BE49-F238E27FC236}">
                <a16:creationId xmlns:a16="http://schemas.microsoft.com/office/drawing/2014/main" id="{6204A2EB-1C19-4C64-81DC-1BDFEC05E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23" y="325041"/>
            <a:ext cx="8143875" cy="279725"/>
          </a:xfrm>
          <a:prstGeom prst="rect">
            <a:avLst/>
          </a:prstGeom>
        </p:spPr>
        <p:txBody>
          <a:bodyPr vert="horz" wrap="square" lIns="0" tIns="360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EDC0CEFE-B93D-446C-A98D-4EBC1C91F3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323" y="1027510"/>
            <a:ext cx="8143875" cy="3509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A27FC136-A26A-487A-91EC-E1BE2A7C6D4D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851298" y="4888705"/>
            <a:ext cx="807402" cy="104945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525"/>
            </a:lvl1pPr>
          </a:lstStyle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2C89210A-FBD5-42AA-9FDB-36CC54C9F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 vert="horz" lIns="0" tIns="187200" rIns="7200" bIns="0" rtlCol="0" anchor="b"/>
          <a:lstStyle>
            <a:lvl1pPr>
              <a:defRPr lang="en-US" sz="525"/>
            </a:lvl1pPr>
          </a:lstStyle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02" name="empower - DO NOT DELETE!!!" hidden="1">
            <a:extLst>
              <a:ext uri="{FF2B5EF4-FFF2-40B4-BE49-F238E27FC236}">
                <a16:creationId xmlns:a16="http://schemas.microsoft.com/office/drawing/2014/main" id="{FED25113-06BE-4303-8C56-C7ECFD0C1D96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103" name="Note Footer" hidden="1">
            <a:extLst>
              <a:ext uri="{FF2B5EF4-FFF2-40B4-BE49-F238E27FC236}">
                <a16:creationId xmlns:a16="http://schemas.microsoft.com/office/drawing/2014/main" id="{874FC37C-0743-4F3A-A2FA-52CD313C8FD2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-2377800" y="16977"/>
            <a:ext cx="2176200" cy="1782573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16000" rIns="216000" bIns="216000" rtlCol="0" anchor="t"/>
          <a:lstStyle/>
          <a:p>
            <a:pPr algn="l"/>
            <a:r>
              <a:rPr lang="en-US" sz="900" b="1" dirty="0"/>
              <a:t>Add image</a:t>
            </a:r>
          </a:p>
          <a:p>
            <a:pPr algn="l"/>
            <a:r>
              <a:rPr lang="en-US" sz="900" dirty="0"/>
              <a:t>To add an image to this slide you can drag an image to the slide. Or click the icon to select the image.</a:t>
            </a:r>
          </a:p>
          <a:p>
            <a:pPr algn="l"/>
            <a:r>
              <a:rPr lang="en-US" sz="900" dirty="0"/>
              <a:t>If you want to reposition the image right click it and select Crop. Now you can use the round handles to change the size or drag the image to reposition it.</a:t>
            </a:r>
          </a:p>
        </p:txBody>
      </p:sp>
      <p:sp>
        <p:nvSpPr>
          <p:cNvPr id="104" name="Note Image" hidden="1">
            <a:extLst>
              <a:ext uri="{FF2B5EF4-FFF2-40B4-BE49-F238E27FC236}">
                <a16:creationId xmlns:a16="http://schemas.microsoft.com/office/drawing/2014/main" id="{490EDF33-79D6-42D6-A539-7968E42924EA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-2377800" y="3669300"/>
            <a:ext cx="2176200" cy="1474200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16000" rIns="216000" bIns="216000" rtlCol="0" anchor="ctr"/>
          <a:lstStyle/>
          <a:p>
            <a:pPr algn="l"/>
            <a:r>
              <a:rPr lang="en-US" sz="900" b="1" dirty="0"/>
              <a:t>Add footer</a:t>
            </a:r>
          </a:p>
          <a:p>
            <a:pPr algn="l"/>
            <a:r>
              <a:rPr lang="en-US" sz="900" dirty="0"/>
              <a:t>You can edit the footer (e.g. presentation description, date) using the slide via the </a:t>
            </a:r>
            <a:r>
              <a:rPr lang="en-US" sz="900" b="1" dirty="0"/>
              <a:t>empower(R) presentation settings.</a:t>
            </a:r>
          </a:p>
          <a:p>
            <a:pPr algn="l"/>
            <a:r>
              <a:rPr lang="en-US" sz="900" dirty="0"/>
              <a:t>Select and set the elements you want to show on either one or all slide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AF629C-9AF9-4125-871F-9B52510058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3800" y="4888708"/>
            <a:ext cx="6739200" cy="104943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525"/>
            </a:lvl1pPr>
          </a:lstStyle>
          <a:p>
            <a:r>
              <a:rPr lang="en-US" noProof="0"/>
              <a:t>Confidential</a:t>
            </a:r>
          </a:p>
        </p:txBody>
      </p:sp>
      <p:sp>
        <p:nvSpPr>
          <p:cNvPr id="6" name="MSIPCMContentMarking" descr="{&quot;HashCode&quot;:1596673254,&quot;Placement&quot;:&quot;Footer&quot;,&quot;Top&quot;:389.104645,&quot;Left&quot;:683.827,&quot;SlideWidth&quot;:720,&quot;SlideHeight&quot;:405}">
            <a:extLst>
              <a:ext uri="{FF2B5EF4-FFF2-40B4-BE49-F238E27FC236}">
                <a16:creationId xmlns:a16="http://schemas.microsoft.com/office/drawing/2014/main" id="{553CD85F-C9DA-4132-8112-8DCBF268734F}"/>
              </a:ext>
            </a:extLst>
          </p:cNvPr>
          <p:cNvSpPr txBox="1"/>
          <p:nvPr userDrawn="1"/>
        </p:nvSpPr>
        <p:spPr>
          <a:xfrm>
            <a:off x="8684603" y="4941629"/>
            <a:ext cx="459397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 defTabSz="374400">
              <a:lnSpc>
                <a:spcPct val="95000"/>
              </a:lnSpc>
              <a:spcBef>
                <a:spcPct val="0"/>
              </a:spcBef>
              <a:spcAft>
                <a:spcPts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</a:rPr>
              <a:t>Public</a:t>
            </a:r>
            <a:endParaRPr lang="en-US" sz="7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3941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</p:sldLayoutIdLst>
  <p:hf hdr="0"/>
  <p:txStyles>
    <p:titleStyle>
      <a:lvl1pPr algn="l" defTabSz="280800" rtl="0" eaLnBrk="1" latinLnBrk="0" hangingPunct="1">
        <a:lnSpc>
          <a:spcPct val="100000"/>
        </a:lnSpc>
        <a:spcBef>
          <a:spcPct val="0"/>
        </a:spcBef>
        <a:spcAft>
          <a:spcPts val="553"/>
        </a:spcAft>
        <a:buNone/>
        <a:defRPr sz="18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280800" rtl="0" eaLnBrk="1" latinLnBrk="0" hangingPunct="1">
        <a:lnSpc>
          <a:spcPct val="95000"/>
        </a:lnSpc>
        <a:spcBef>
          <a:spcPts val="277"/>
        </a:spcBef>
        <a:spcAft>
          <a:spcPts val="277"/>
        </a:spcAft>
        <a:buFontTx/>
        <a:buNone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280800" rtl="0" eaLnBrk="1" latinLnBrk="0" hangingPunct="1">
        <a:lnSpc>
          <a:spcPct val="95000"/>
        </a:lnSpc>
        <a:spcBef>
          <a:spcPts val="277"/>
        </a:spcBef>
        <a:spcAft>
          <a:spcPts val="277"/>
        </a:spcAft>
        <a:buFontTx/>
        <a:buNone/>
        <a:defRPr sz="12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75500" indent="-175500" algn="l" defTabSz="280800" rtl="0" eaLnBrk="1" latinLnBrk="0" hangingPunct="1">
        <a:lnSpc>
          <a:spcPct val="95000"/>
        </a:lnSpc>
        <a:spcBef>
          <a:spcPts val="277"/>
        </a:spcBef>
        <a:spcAft>
          <a:spcPts val="277"/>
        </a:spcAft>
        <a:buSzPct val="11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351000" indent="-175500" algn="l" defTabSz="280800" rtl="0" eaLnBrk="1" latinLnBrk="0" hangingPunct="1">
        <a:lnSpc>
          <a:spcPct val="105000"/>
        </a:lnSpc>
        <a:spcBef>
          <a:spcPts val="150"/>
        </a:spcBef>
        <a:spcAft>
          <a:spcPts val="150"/>
        </a:spcAft>
        <a:buSzPct val="100000"/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526500" indent="-175500" algn="l" defTabSz="280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SzPct val="90000"/>
        <a:buFont typeface="Arial" panose="020B0604020202020204" pitchFamily="34" charset="0"/>
        <a:buChar char="•"/>
        <a:defRPr sz="75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5500" indent="-175500" algn="l" defTabSz="280800" rtl="0" eaLnBrk="1" latinLnBrk="0" hangingPunct="1">
        <a:lnSpc>
          <a:spcPct val="95000"/>
        </a:lnSpc>
        <a:spcBef>
          <a:spcPts val="277"/>
        </a:spcBef>
        <a:spcAft>
          <a:spcPts val="277"/>
        </a:spcAft>
        <a:buFont typeface="+mj-lt"/>
        <a:buAutoNum type="arabicPeriod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51000" indent="-175500" algn="l" defTabSz="280800" rtl="0" eaLnBrk="1" latinLnBrk="0" hangingPunct="1">
        <a:lnSpc>
          <a:spcPct val="105000"/>
        </a:lnSpc>
        <a:spcBef>
          <a:spcPts val="150"/>
        </a:spcBef>
        <a:spcAft>
          <a:spcPts val="150"/>
        </a:spcAft>
        <a:buFont typeface="+mj-lt"/>
        <a:buAutoNum type="romanLcPeriod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80800" rtl="0" eaLnBrk="1" latinLnBrk="0" hangingPunct="1">
        <a:lnSpc>
          <a:spcPct val="105000"/>
        </a:lnSpc>
        <a:spcBef>
          <a:spcPts val="150"/>
        </a:spcBef>
        <a:spcAft>
          <a:spcPts val="150"/>
        </a:spcAft>
        <a:buFontTx/>
        <a:buNone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80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Tx/>
        <a:buNone/>
        <a:defRPr sz="75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280800" rtl="0" eaLnBrk="1" latinLnBrk="0" hangingPunct="1">
        <a:lnSpc>
          <a:spcPct val="105000"/>
        </a:lnSpc>
        <a:spcBef>
          <a:spcPts val="150"/>
        </a:spcBef>
        <a:spcAft>
          <a:spcPts val="150"/>
        </a:spcAft>
        <a:buFontTx/>
        <a:buNone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280800" rtl="0" eaLnBrk="1" latinLnBrk="0" hangingPunct="1">
        <a:lnSpc>
          <a:spcPct val="105000"/>
        </a:lnSpc>
        <a:spcBef>
          <a:spcPts val="150"/>
        </a:spcBef>
        <a:spcAft>
          <a:spcPts val="150"/>
        </a:spcAft>
        <a:buFontTx/>
        <a:buNone/>
        <a:defRPr sz="9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-175500" algn="l" defTabSz="280800" rtl="0" eaLnBrk="1" latinLnBrk="0" hangingPunct="1">
        <a:lnSpc>
          <a:spcPct val="105000"/>
        </a:lnSpc>
        <a:spcBef>
          <a:spcPts val="150"/>
        </a:spcBef>
        <a:spcAft>
          <a:spcPts val="150"/>
        </a:spcAft>
        <a:buSzPct val="110000"/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351000" indent="-175500" algn="l" defTabSz="280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SzPct val="100000"/>
        <a:buFont typeface="Arial" panose="020B0604020202020204" pitchFamily="34" charset="0"/>
        <a:buChar char="•"/>
        <a:defRPr sz="75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526500" indent="-175500" algn="l" defTabSz="280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SzPct val="90000"/>
        <a:buFont typeface="Arial" panose="020B0604020202020204" pitchFamily="34" charset="0"/>
        <a:buChar char="•"/>
        <a:defRPr sz="75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-175500" algn="l" defTabSz="280800" rtl="0" eaLnBrk="1" latinLnBrk="0" hangingPunct="1">
        <a:lnSpc>
          <a:spcPct val="105000"/>
        </a:lnSpc>
        <a:spcBef>
          <a:spcPts val="150"/>
        </a:spcBef>
        <a:spcAft>
          <a:spcPts val="150"/>
        </a:spcAft>
        <a:buFont typeface="+mj-lt"/>
        <a:buAutoNum type="arabicPeriod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51000" indent="-175500" algn="l" defTabSz="280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AutoNum type="romanLcPeriod"/>
        <a:defRPr sz="75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80800" rtl="0" eaLnBrk="1" latinLnBrk="0" hangingPunct="1">
        <a:lnSpc>
          <a:spcPct val="105000"/>
        </a:lnSpc>
        <a:spcBef>
          <a:spcPts val="150"/>
        </a:spcBef>
        <a:spcAft>
          <a:spcPts val="150"/>
        </a:spcAft>
        <a:buFontTx/>
        <a:buNone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80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Tx/>
        <a:buNone/>
        <a:defRPr sz="750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com/url?sa=i&amp;rct=j&amp;q=&amp;esrc=s&amp;source=images&amp;cd=&amp;cad=rja&amp;uact=8&amp;ved=2ahUKEwiP9qnwwvfbAhVJJlAKHe5yCbUQjRx6BAgBEAU&amp;url=https://nl.mouser.com/new/microchip/microchip-cl88020-ic/&amp;psig=AOvVaw3azbQSuzCcFHIRO5m84hxL&amp;ust=1530315296820015" TargetMode="Externa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jp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hyperlink" Target="https://www.google.com/url?sa=i&amp;rct=j&amp;q=&amp;esrc=s&amp;source=images&amp;cd=&amp;cad=rja&amp;uact=8&amp;ved=2ahUKEwiP9qnwwvfbAhVJJlAKHe5yCbUQjRx6BAgBEAU&amp;url=https://nl.mouser.com/new/microchip/microchip-cl88020-ic/&amp;psig=AOvVaw3azbQSuzCcFHIRO5m84hxL&amp;ust=1530315296820015" TargetMode="Externa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hyperlink" Target="https://www.google.com/url?sa=i&amp;rct=j&amp;q=&amp;esrc=s&amp;source=images&amp;cd=&amp;cad=rja&amp;uact=8&amp;ved=2ahUKEwiP9qnwwvfbAhVJJlAKHe5yCbUQjRx6BAgBEAU&amp;url=https://nl.mouser.com/new/microchip/microchip-cl88020-ic/&amp;psig=AOvVaw3azbQSuzCcFHIRO5m84hxL&amp;ust=1530315296820015" TargetMode="Externa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6E0FF06-3A01-423E-9C7B-D440416EF0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351327" cy="5143500"/>
          </a:xfrm>
          <a:prstGeom prst="rect">
            <a:avLst/>
          </a:prstGeom>
        </p:spPr>
      </p:pic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444925A-625C-4119-B1B1-F58FD9DC8A06}"/>
              </a:ext>
            </a:extLst>
          </p:cNvPr>
          <p:cNvSpPr txBox="1">
            <a:spLocks/>
          </p:cNvSpPr>
          <p:nvPr/>
        </p:nvSpPr>
        <p:spPr>
          <a:xfrm>
            <a:off x="6351327" y="3239076"/>
            <a:ext cx="2792673" cy="5852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r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WAT ZIJN CHIPS?</a:t>
            </a:r>
          </a:p>
          <a:p>
            <a:pPr algn="l" fontAlgn="auto"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EN WAT KAN JE ER MEE ?</a:t>
            </a:r>
          </a:p>
        </p:txBody>
      </p:sp>
    </p:spTree>
    <p:extLst>
      <p:ext uri="{BB962C8B-B14F-4D97-AF65-F5344CB8AC3E}">
        <p14:creationId xmlns:p14="http://schemas.microsoft.com/office/powerpoint/2010/main" val="1113350021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AB8DFC7-A6FB-493C-9C4C-3ACC6740D6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470BAF1-4AB5-4AA2-BC68-9B58860CCC1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nl-NL" noProof="0"/>
              <a:t>&lt;Date&gt;</a:t>
            </a:r>
            <a:endParaRPr lang="en-US" noProof="0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590FFA-D8C3-46EF-84FB-8061178EB10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E18C5AF-7FF2-4B2F-BF32-5C67FB56EAB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10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399585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Image result for fries">
            <a:extLst>
              <a:ext uri="{FF2B5EF4-FFF2-40B4-BE49-F238E27FC236}">
                <a16:creationId xmlns:a16="http://schemas.microsoft.com/office/drawing/2014/main" id="{13190D90-71CC-47E5-BBAC-7E5DA85779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083" y="1042986"/>
            <a:ext cx="4594224" cy="3097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Image result for potato chips">
            <a:extLst>
              <a:ext uri="{FF2B5EF4-FFF2-40B4-BE49-F238E27FC236}">
                <a16:creationId xmlns:a16="http://schemas.microsoft.com/office/drawing/2014/main" id="{76092210-A110-4036-8FCC-D133714D9E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8569" y="1500188"/>
            <a:ext cx="4305916" cy="2666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9AF8589-AEFE-49D4-B288-5D90ED06B20C}"/>
              </a:ext>
            </a:extLst>
          </p:cNvPr>
          <p:cNvSpPr>
            <a:spLocks noGrp="1"/>
          </p:cNvSpPr>
          <p:nvPr/>
        </p:nvSpPr>
        <p:spPr>
          <a:xfrm>
            <a:off x="1097280" y="1069848"/>
            <a:ext cx="6999828" cy="3711702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>
            <a:lvl1pPr marL="0" indent="0" algn="l" defTabSz="280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3225" indent="-173038" algn="l" defTabSz="280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tabLst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363" indent="-173038" algn="l" defTabSz="280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51000" indent="-175500" algn="l" defTabSz="280800" rtl="0" eaLnBrk="1" latinLnBrk="0" hangingPunct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  <a:buSzPct val="100000"/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26500" indent="-175500" algn="l" defTabSz="280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90000"/>
              <a:buFont typeface="Arial" panose="020B0604020202020204" pitchFamily="34" charset="0"/>
              <a:buChar char="•"/>
              <a:defRPr sz="7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5500" indent="-175500" algn="l" defTabSz="280800" rtl="0" eaLnBrk="1" latinLnBrk="0" hangingPunct="1">
              <a:lnSpc>
                <a:spcPct val="95000"/>
              </a:lnSpc>
              <a:spcBef>
                <a:spcPts val="277"/>
              </a:spcBef>
              <a:spcAft>
                <a:spcPts val="277"/>
              </a:spcAft>
              <a:buFont typeface="+mj-lt"/>
              <a:buAutoNum type="arabicPeriod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1000" indent="-175500" algn="l" defTabSz="280800" rtl="0" eaLnBrk="1" latinLnBrk="0" hangingPunct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  <a:buFont typeface="+mj-lt"/>
              <a:buAutoNum type="romanLcPeriod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80800" rtl="0" eaLnBrk="1" latinLnBrk="0" hangingPunct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  <a:buFontTx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80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  <a:defRPr/>
            </a:pPr>
            <a:endParaRPr lang="nl-NL" sz="2000" dirty="0">
              <a:solidFill>
                <a:schemeClr val="tx2">
                  <a:lumMod val="100000"/>
                </a:schemeClr>
              </a:solidFill>
            </a:endParaRPr>
          </a:p>
          <a:p>
            <a:pPr marL="0" lvl="1" indent="0">
              <a:buNone/>
              <a:defRPr/>
            </a:pPr>
            <a:endParaRPr lang="nl-NL" sz="2000" dirty="0">
              <a:solidFill>
                <a:schemeClr val="tx2">
                  <a:lumMod val="100000"/>
                </a:schemeClr>
              </a:solidFill>
            </a:endParaRPr>
          </a:p>
          <a:p>
            <a:pPr marL="0" lvl="1" indent="0">
              <a:buNone/>
              <a:defRPr/>
            </a:pPr>
            <a:endParaRPr lang="nl-NL" sz="2000" dirty="0">
              <a:solidFill>
                <a:schemeClr val="tx2">
                  <a:lumMod val="100000"/>
                </a:schemeClr>
              </a:solidFill>
            </a:endParaRPr>
          </a:p>
          <a:p>
            <a:pPr marL="0" lvl="1" indent="0">
              <a:buNone/>
              <a:defRPr/>
            </a:pPr>
            <a:endParaRPr lang="nl-NL" sz="200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E81792C-76B4-462E-93B7-4CA2621BFA2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en-US" noProof="0">
                <a:latin typeface="Arial" panose="020B0604020202020204" pitchFamily="34" charset="0"/>
              </a:rPr>
              <a:t>Slide </a:t>
            </a:r>
            <a:fld id="{1D9B13CD-33A0-446D-8703-F89F9F109F54}" type="slidenum">
              <a:rPr lang="en-US" noProof="0" smtClean="0">
                <a:latin typeface="Arial" panose="020B0604020202020204" pitchFamily="34" charset="0"/>
              </a:rPr>
              <a:pPr/>
              <a:t>2</a:t>
            </a:fld>
            <a:endParaRPr lang="en-US" noProof="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027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lvl="1" indent="0">
              <a:buNone/>
              <a:defRPr/>
            </a:pPr>
            <a:endParaRPr lang="nl-NL" sz="2000" dirty="0"/>
          </a:p>
          <a:p>
            <a:pPr marL="0" lvl="1" indent="0">
              <a:buNone/>
              <a:defRPr/>
            </a:pPr>
            <a:endParaRPr lang="nl-NL" sz="2000" dirty="0"/>
          </a:p>
          <a:p>
            <a:pPr marL="0" lvl="1" indent="0">
              <a:buNone/>
              <a:defRPr/>
            </a:pPr>
            <a:endParaRPr lang="nl-NL" sz="2000" dirty="0"/>
          </a:p>
          <a:p>
            <a:pPr marL="0" lvl="1" indent="0">
              <a:buNone/>
              <a:defRPr/>
            </a:pPr>
            <a:endParaRPr lang="nl-NL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DF8BDE-D89F-438D-A470-B79BB62703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4985" y="-689611"/>
            <a:ext cx="6373707" cy="6373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359459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http://www.knack.be/medias/3371/1726413.jpg">
            <a:extLst>
              <a:ext uri="{FF2B5EF4-FFF2-40B4-BE49-F238E27FC236}">
                <a16:creationId xmlns:a16="http://schemas.microsoft.com/office/drawing/2014/main" id="{FFA2E403-E668-4556-80FE-694CFD0AA8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8506" y="1087954"/>
            <a:ext cx="4070350" cy="2468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Afbeeldingsresultaat voor microchip">
            <a:hlinkClick r:id="rId3"/>
            <a:extLst>
              <a:ext uri="{FF2B5EF4-FFF2-40B4-BE49-F238E27FC236}">
                <a16:creationId xmlns:a16="http://schemas.microsoft.com/office/drawing/2014/main" id="{3BB57F24-7A8F-45EB-9238-782A40BD2E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1" y="971550"/>
            <a:ext cx="2749826" cy="30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6315952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716403B-A94C-41F1-9ED5-D10AD53929B2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639789" y="2740186"/>
            <a:ext cx="2007100" cy="10035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BC2F325-043D-4471-89F4-CD727EB5FB0A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909539" y="2779113"/>
            <a:ext cx="2007100" cy="10035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BA89A46-5221-40D5-A2A2-42B87671B4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3089" y="2474313"/>
            <a:ext cx="2711533" cy="1524000"/>
          </a:xfrm>
          <a:prstGeom prst="rect">
            <a:avLst/>
          </a:prstGeom>
        </p:spPr>
      </p:pic>
      <p:sp>
        <p:nvSpPr>
          <p:cNvPr id="5" name="AutoShape 2" descr="Afbeeldingsresultaat voor ears">
            <a:extLst>
              <a:ext uri="{FF2B5EF4-FFF2-40B4-BE49-F238E27FC236}">
                <a16:creationId xmlns:a16="http://schemas.microsoft.com/office/drawing/2014/main" id="{F90A2B80-39EF-4620-8DE6-8C03A7443B1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284689" y="3693513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05132D-0101-4527-9904-25D36D21B1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44955" y="2740186"/>
            <a:ext cx="1447800" cy="1033751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DCF869E-C1A6-41B3-A823-59291D5789A7}"/>
              </a:ext>
            </a:extLst>
          </p:cNvPr>
          <p:cNvGrpSpPr/>
          <p:nvPr/>
        </p:nvGrpSpPr>
        <p:grpSpPr>
          <a:xfrm>
            <a:off x="2726811" y="1392427"/>
            <a:ext cx="4148679" cy="1767686"/>
            <a:chOff x="4053162" y="454667"/>
            <a:chExt cx="4072478" cy="1767686"/>
          </a:xfrm>
        </p:grpSpPr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18AA608B-4C52-42B9-8933-842AF3AF1F1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007875" y="1140619"/>
              <a:ext cx="1050966" cy="530652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C8629468-C5A5-47EE-9248-751A9A33610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556636" y="1140620"/>
              <a:ext cx="15201" cy="108173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3649E1A-CD42-4526-AB93-02B63B7508F9}"/>
                </a:ext>
              </a:extLst>
            </p:cNvPr>
            <p:cNvSpPr txBox="1"/>
            <p:nvPr/>
          </p:nvSpPr>
          <p:spPr>
            <a:xfrm>
              <a:off x="4821721" y="454667"/>
              <a:ext cx="3303919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9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+mn-lt"/>
                </a:rPr>
                <a:t>IN (INPUT)</a:t>
              </a:r>
            </a:p>
          </p:txBody>
        </p: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F145D31D-5C13-4007-B6A3-D692A76EF91A}"/>
                </a:ext>
              </a:extLst>
            </p:cNvPr>
            <p:cNvCxnSpPr/>
            <p:nvPr/>
          </p:nvCxnSpPr>
          <p:spPr>
            <a:xfrm flipV="1">
              <a:off x="4053162" y="1146032"/>
              <a:ext cx="1066800" cy="557905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93213702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716403B-A94C-41F1-9ED5-D10AD53929B2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774700" y="1466023"/>
            <a:ext cx="2007100" cy="10035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BC2F325-043D-4471-89F4-CD727EB5FB0A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044450" y="1504950"/>
            <a:ext cx="2007100" cy="10035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BA89A46-5221-40D5-A2A2-42B87671B4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0" y="1200150"/>
            <a:ext cx="2711533" cy="1524000"/>
          </a:xfrm>
          <a:prstGeom prst="rect">
            <a:avLst/>
          </a:prstGeom>
        </p:spPr>
      </p:pic>
      <p:sp>
        <p:nvSpPr>
          <p:cNvPr id="5" name="AutoShape 2" descr="Afbeeldingsresultaat voor ears">
            <a:extLst>
              <a:ext uri="{FF2B5EF4-FFF2-40B4-BE49-F238E27FC236}">
                <a16:creationId xmlns:a16="http://schemas.microsoft.com/office/drawing/2014/main" id="{F90A2B80-39EF-4620-8DE6-8C03A7443B1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05132D-0101-4527-9904-25D36D21B1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79866" y="1466023"/>
            <a:ext cx="1447800" cy="1033751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DCF869E-C1A6-41B3-A823-59291D5789A7}"/>
              </a:ext>
            </a:extLst>
          </p:cNvPr>
          <p:cNvGrpSpPr/>
          <p:nvPr/>
        </p:nvGrpSpPr>
        <p:grpSpPr>
          <a:xfrm>
            <a:off x="2861721" y="118264"/>
            <a:ext cx="4148679" cy="1767686"/>
            <a:chOff x="4053162" y="454667"/>
            <a:chExt cx="4072479" cy="1767686"/>
          </a:xfrm>
        </p:grpSpPr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18AA608B-4C52-42B9-8933-842AF3AF1F1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007875" y="1140619"/>
              <a:ext cx="1050966" cy="530652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C8629468-C5A5-47EE-9248-751A9A33610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556636" y="1140620"/>
              <a:ext cx="15201" cy="108173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3649E1A-CD42-4526-AB93-02B63B7508F9}"/>
                </a:ext>
              </a:extLst>
            </p:cNvPr>
            <p:cNvSpPr txBox="1"/>
            <p:nvPr/>
          </p:nvSpPr>
          <p:spPr>
            <a:xfrm>
              <a:off x="4821722" y="454667"/>
              <a:ext cx="3303919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9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+mn-lt"/>
                </a:rPr>
                <a:t>IN (INPUT)</a:t>
              </a:r>
            </a:p>
          </p:txBody>
        </p: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F145D31D-5C13-4007-B6A3-D692A76EF91A}"/>
                </a:ext>
              </a:extLst>
            </p:cNvPr>
            <p:cNvCxnSpPr/>
            <p:nvPr/>
          </p:nvCxnSpPr>
          <p:spPr>
            <a:xfrm flipV="1">
              <a:off x="4053162" y="1146032"/>
              <a:ext cx="1066800" cy="557905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38466CF9-5891-4534-AF8B-89A396EDFE3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5472445" y="2139286"/>
            <a:ext cx="2581275" cy="17716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874FA19-F5CC-49FF-A89B-D64B82BA2037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00473" y="2139286"/>
            <a:ext cx="2581275" cy="177165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E7588BD-43EC-4AC7-913F-26EAB89A34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41766" y="2724150"/>
            <a:ext cx="1524000" cy="85598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1E698D8E-9730-4538-A3C8-5EC40D6930C3}"/>
              </a:ext>
            </a:extLst>
          </p:cNvPr>
          <p:cNvGrpSpPr/>
          <p:nvPr/>
        </p:nvGrpSpPr>
        <p:grpSpPr>
          <a:xfrm>
            <a:off x="3208333" y="3677477"/>
            <a:ext cx="4030667" cy="1277071"/>
            <a:chOff x="3208333" y="3677477"/>
            <a:chExt cx="4030667" cy="1277071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A972E1D-149B-4158-A56C-9C0E8237D914}"/>
                </a:ext>
              </a:extLst>
            </p:cNvPr>
            <p:cNvSpPr txBox="1"/>
            <p:nvPr/>
          </p:nvSpPr>
          <p:spPr>
            <a:xfrm>
              <a:off x="3393783" y="4400550"/>
              <a:ext cx="3845217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900"/>
                </a:spcAft>
              </a:pPr>
              <a:r>
                <a:rPr lang="en-US" sz="3600" b="1" dirty="0">
                  <a:solidFill>
                    <a:schemeClr val="tx2"/>
                  </a:solidFill>
                </a:rPr>
                <a:t>UIT (OUTPUT)</a:t>
              </a:r>
            </a:p>
          </p:txBody>
        </p: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36CC9FB2-76CD-437A-885B-53AFA630964F}"/>
                </a:ext>
              </a:extLst>
            </p:cNvPr>
            <p:cNvCxnSpPr>
              <a:cxnSpLocks/>
            </p:cNvCxnSpPr>
            <p:nvPr/>
          </p:nvCxnSpPr>
          <p:spPr>
            <a:xfrm>
              <a:off x="3208333" y="3686959"/>
              <a:ext cx="866866" cy="606761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32E217B1-4802-4EE3-815A-1DD7B2CFED1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78995" y="3677477"/>
              <a:ext cx="834753" cy="64687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9BBF08F0-9ADD-4740-BE1D-6D5C859038CD}"/>
                </a:ext>
              </a:extLst>
            </p:cNvPr>
            <p:cNvCxnSpPr>
              <a:cxnSpLocks/>
            </p:cNvCxnSpPr>
            <p:nvPr/>
          </p:nvCxnSpPr>
          <p:spPr>
            <a:xfrm>
              <a:off x="4343400" y="3712937"/>
              <a:ext cx="0" cy="61141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1517519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5A36621F-4210-44C4-8D17-C124DC3B0A60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05513" y="1294519"/>
            <a:ext cx="1614149" cy="137611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B5A5185-5262-45A9-AC3C-C601F1F0336E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784886" y="2426022"/>
            <a:ext cx="1391322" cy="12192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99267B4-AEE3-44B3-8011-5A5EE1EC5056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158437" y="2427697"/>
            <a:ext cx="1709025" cy="1596850"/>
          </a:xfrm>
          <a:prstGeom prst="rect">
            <a:avLst/>
          </a:prstGeom>
        </p:spPr>
      </p:pic>
      <p:pic>
        <p:nvPicPr>
          <p:cNvPr id="25" name="Picture 2" descr="Afbeeldingsresultaat voor microchip">
            <a:hlinkClick r:id="rId5"/>
            <a:extLst>
              <a:ext uri="{FF2B5EF4-FFF2-40B4-BE49-F238E27FC236}">
                <a16:creationId xmlns:a16="http://schemas.microsoft.com/office/drawing/2014/main" id="{CC1DDB97-06AC-4811-98B2-69C98D720A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1262" y="1967147"/>
            <a:ext cx="2057400" cy="2280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95E31C71-3558-4821-AACE-8A85D9FDDA27}"/>
              </a:ext>
            </a:extLst>
          </p:cNvPr>
          <p:cNvGrpSpPr/>
          <p:nvPr/>
        </p:nvGrpSpPr>
        <p:grpSpPr>
          <a:xfrm>
            <a:off x="3334062" y="1255442"/>
            <a:ext cx="3657600" cy="1249270"/>
            <a:chOff x="4053162" y="454667"/>
            <a:chExt cx="3657600" cy="1249270"/>
          </a:xfrm>
        </p:grpSpPr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D40F779D-1ACB-4F05-8DFE-E07D028552F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007875" y="1140619"/>
              <a:ext cx="1050966" cy="530652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F2FBB5F-A8A1-4431-B0A1-EC34ED3DBC9E}"/>
                </a:ext>
              </a:extLst>
            </p:cNvPr>
            <p:cNvSpPr txBox="1"/>
            <p:nvPr/>
          </p:nvSpPr>
          <p:spPr>
            <a:xfrm>
              <a:off x="5309797" y="454667"/>
              <a:ext cx="2400965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9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+mn-lt"/>
                </a:rPr>
                <a:t>IN (INPUT)</a:t>
              </a:r>
            </a:p>
          </p:txBody>
        </p: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A8619BE5-F67B-474D-890B-BDEF70EB9DFD}"/>
                </a:ext>
              </a:extLst>
            </p:cNvPr>
            <p:cNvCxnSpPr/>
            <p:nvPr/>
          </p:nvCxnSpPr>
          <p:spPr>
            <a:xfrm flipV="1">
              <a:off x="4053162" y="1146032"/>
              <a:ext cx="1066800" cy="557905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22746180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5A36621F-4210-44C4-8D17-C124DC3B0A60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95651" y="222722"/>
            <a:ext cx="1614149" cy="137611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B5A5185-5262-45A9-AC3C-C601F1F0336E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75024" y="1354225"/>
            <a:ext cx="1391322" cy="12192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99267B4-AEE3-44B3-8011-5A5EE1EC5056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948575" y="1355900"/>
            <a:ext cx="1709025" cy="1596850"/>
          </a:xfrm>
          <a:prstGeom prst="rect">
            <a:avLst/>
          </a:prstGeom>
        </p:spPr>
      </p:pic>
      <p:pic>
        <p:nvPicPr>
          <p:cNvPr id="25" name="Picture 2" descr="Afbeeldingsresultaat voor microchip">
            <a:hlinkClick r:id="rId5"/>
            <a:extLst>
              <a:ext uri="{FF2B5EF4-FFF2-40B4-BE49-F238E27FC236}">
                <a16:creationId xmlns:a16="http://schemas.microsoft.com/office/drawing/2014/main" id="{CC1DDB97-06AC-4811-98B2-69C98D720A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400" y="895350"/>
            <a:ext cx="2057400" cy="2280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95E31C71-3558-4821-AACE-8A85D9FDDA27}"/>
              </a:ext>
            </a:extLst>
          </p:cNvPr>
          <p:cNvGrpSpPr/>
          <p:nvPr/>
        </p:nvGrpSpPr>
        <p:grpSpPr>
          <a:xfrm>
            <a:off x="3124200" y="183645"/>
            <a:ext cx="3657600" cy="1249270"/>
            <a:chOff x="4053162" y="454667"/>
            <a:chExt cx="3657600" cy="1249270"/>
          </a:xfrm>
        </p:grpSpPr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D40F779D-1ACB-4F05-8DFE-E07D028552F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007875" y="1140619"/>
              <a:ext cx="1050966" cy="530652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F2FBB5F-A8A1-4431-B0A1-EC34ED3DBC9E}"/>
                </a:ext>
              </a:extLst>
            </p:cNvPr>
            <p:cNvSpPr txBox="1"/>
            <p:nvPr/>
          </p:nvSpPr>
          <p:spPr>
            <a:xfrm>
              <a:off x="5309797" y="454667"/>
              <a:ext cx="2400965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9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+mn-lt"/>
                </a:rPr>
                <a:t>IN (INPUT)</a:t>
              </a:r>
            </a:p>
          </p:txBody>
        </p: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A8619BE5-F67B-474D-890B-BDEF70EB9DFD}"/>
                </a:ext>
              </a:extLst>
            </p:cNvPr>
            <p:cNvCxnSpPr/>
            <p:nvPr/>
          </p:nvCxnSpPr>
          <p:spPr>
            <a:xfrm flipV="1">
              <a:off x="4053162" y="1146032"/>
              <a:ext cx="1066800" cy="557905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84A4C38A-C6CE-4D1C-AD5A-088D421FD8BA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5867400" y="1912850"/>
            <a:ext cx="2847975" cy="207645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5CFFBD5-AAC0-4F48-9EE7-CB1215C8F42B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90705" y="2012397"/>
            <a:ext cx="2847975" cy="207645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5F2F2D29-53A5-476D-AC22-1A074048AAB7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07388" y="2723689"/>
            <a:ext cx="1485900" cy="1372061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217A1BF3-77A5-4F22-A371-30A1B53DBECC}"/>
              </a:ext>
            </a:extLst>
          </p:cNvPr>
          <p:cNvGrpSpPr/>
          <p:nvPr/>
        </p:nvGrpSpPr>
        <p:grpSpPr>
          <a:xfrm>
            <a:off x="3038680" y="3560342"/>
            <a:ext cx="4200320" cy="1546606"/>
            <a:chOff x="2813628" y="3474591"/>
            <a:chExt cx="4200320" cy="1546606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F9A66BE-D833-4B98-93B2-5C0A2BC3EB71}"/>
                </a:ext>
              </a:extLst>
            </p:cNvPr>
            <p:cNvSpPr txBox="1"/>
            <p:nvPr/>
          </p:nvSpPr>
          <p:spPr>
            <a:xfrm>
              <a:off x="3889418" y="4467199"/>
              <a:ext cx="312453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9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+mn-lt"/>
                </a:rPr>
                <a:t>UIT (OUTPUT)</a:t>
              </a:r>
            </a:p>
          </p:txBody>
        </p: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9794F2CC-26A3-441C-BB82-8802E92FD0E8}"/>
                </a:ext>
              </a:extLst>
            </p:cNvPr>
            <p:cNvCxnSpPr>
              <a:cxnSpLocks/>
            </p:cNvCxnSpPr>
            <p:nvPr/>
          </p:nvCxnSpPr>
          <p:spPr>
            <a:xfrm>
              <a:off x="2813628" y="3550640"/>
              <a:ext cx="1261462" cy="752917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4969665A-DA1E-4278-A90F-4AFDEA1F08D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78996" y="3474591"/>
              <a:ext cx="1215752" cy="849759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EC1E7ACC-6919-4D54-920E-9F073B6DC5B7}"/>
                </a:ext>
              </a:extLst>
            </p:cNvPr>
            <p:cNvCxnSpPr>
              <a:cxnSpLocks/>
            </p:cNvCxnSpPr>
            <p:nvPr/>
          </p:nvCxnSpPr>
          <p:spPr>
            <a:xfrm>
              <a:off x="4343400" y="3712937"/>
              <a:ext cx="0" cy="61141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23846322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188A150-8010-4076-B532-8C5E24EA0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23" y="325041"/>
            <a:ext cx="8143875" cy="557633"/>
          </a:xfrm>
        </p:spPr>
        <p:txBody>
          <a:bodyPr/>
          <a:lstStyle/>
          <a:p>
            <a:r>
              <a:rPr lang="nl-NL" sz="1800" dirty="0"/>
              <a:t>Chips zijn de “hersenen” van machines en apparaten</a:t>
            </a:r>
            <a:br>
              <a:rPr lang="nl-NL" sz="1800" dirty="0"/>
            </a:b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AC16C25-4A39-445D-AEF5-7EE1AA6A31F2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r>
              <a:rPr lang="nl-NL" dirty="0"/>
              <a:t>E</a:t>
            </a:r>
            <a:r>
              <a:rPr lang="nl-NL" sz="1200" dirty="0"/>
              <a:t>n nu gaan we zelf een machine bedenken en bouwen!</a:t>
            </a:r>
          </a:p>
          <a:p>
            <a:pPr algn="ctr"/>
            <a:endParaRPr lang="en-US" sz="1200" dirty="0"/>
          </a:p>
          <a:p>
            <a:pPr algn="ctr"/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6" name="Afbeelding 5" descr="Afbeelding met tekst, Lettertype, schermopname, logo&#10;&#10;Automatisch gegenereerde beschrijving">
            <a:extLst>
              <a:ext uri="{FF2B5EF4-FFF2-40B4-BE49-F238E27FC236}">
                <a16:creationId xmlns:a16="http://schemas.microsoft.com/office/drawing/2014/main" id="{9CE973EB-CE7E-1E15-44EF-7DFFD7EF8F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3570" y="4360979"/>
            <a:ext cx="3227231" cy="642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447278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IAAAAAAAAAAwAAAAMAAAAA/////wQAPwwAAAAAAAAAAAAAIAD///////////////8AAAD////////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o6GJxzcTtBhFmL+Ky/yg0FAAAAAAADAAAAAwADAAAAAQADAAIA////////BAAAAAMAEAAL6Z3DkPd+qUab+CDDBvxcjAUAAAABAAMAAAAAAAMAAAAC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gEDAAAAAgD///////8aAAZMaW5rZWRTaGFwZXNEYXRhUHJvcGVydHlfMAUAAAAAAAQAAAADAAQAAAABAAQAAAAAAP///////wQAAAAAAP///////wQAAAAAAP///////w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o6GJxzcTtBhFmL+Ky/yg0DRGF0YQAbAAAABExpbmtlZFNoYXBlRGF0YQAFAAAAAAACTmFtZQAZAAAATGlua2VkU2hhcGVzRGF0YVByb3BlcnR5ABBWZXJzaW9uAAAAAAAJTGFzdFdyaXRlAHWM/eN9AQAAAAEA/////8YAxgAAAAVfaWQAEAAAAATpncOQ936pRpv4IMMG/FyMA0RhdGEAUwAAAAhQcmVzZW50YXRpb25TY2FubmVkRm9yTGlua2VkU2hhcGVzAAECTnVtYmVyRm9ybWF0U2VwYXJhdG9yTW9kZQAKAAAAQXV0b21hdGljAAACTmFtZQAkAAAATGlua2VkU2hhcGVQcmVzZW50YXRpb25TZXR0aW5nc0RhdGEAEFZlcnNpb24AAAAAAAlMYXN0V3JpdGUAw4z943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COAUTHORING_SESSION_ID" val="36a452eb-c551-48b2-b202-485d79eda10e"/>
  <p:tag name="UNDO_REDO_REVISION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TEXT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27"/>
  <p:tag name="MIO_SHOW_DATE" val="True"/>
  <p:tag name="MIO_SHOW_FOOTER" val="True"/>
  <p:tag name="MIO_SHOW_PAGENUMBER" val="True"/>
  <p:tag name="MIO_AVOID_BLANK_LAYOUT" val="False"/>
  <p:tag name="MIO_CD_LAYOUT_VALID_AREA" val="False"/>
  <p:tag name="MIO_EMBED_FONT" val="False"/>
  <p:tag name="MIO_MATCH_COLOR_SCHEME" val="True"/>
  <p:tag name="MIO_NUMBER_OF_VALID_LAYOUTS" val="29"/>
  <p:tag name="MIO_HDS" val="True"/>
  <p:tag name="MIO_SKIPVERSION" val="01.01.0001 00:00:00"/>
  <p:tag name="MIO_EKGUID" val="101bf71b-ffc9-43c9-b0b7-cc5680e30b67"/>
  <p:tag name="MIO_UPDATE" val="True"/>
  <p:tag name="MIO_VERSION" val="29.10.2021 09:57:24"/>
  <p:tag name="MIO_DBID" val="0F45B44C-9BC7-4D85-81C4-7155EE70A7B9"/>
  <p:tag name="MIO_LASTDOWNLOADED" val="22.12.2021 22:13:22.075"/>
  <p:tag name="MIO_OBJECTNAME" val="ASML Master"/>
  <p:tag name="MIO_CDID" val="531547a1-6921-4a73-8514-e2d26a6e33a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heme/theme1.xml><?xml version="1.0" encoding="utf-8"?>
<a:theme xmlns:a="http://schemas.openxmlformats.org/drawingml/2006/main" name="ASML Template 2021">
  <a:themeElements>
    <a:clrScheme name="ASML Template">
      <a:dk1>
        <a:srgbClr val="000000"/>
      </a:dk1>
      <a:lt1>
        <a:srgbClr val="FFFFFF"/>
      </a:lt1>
      <a:dk2>
        <a:srgbClr val="00A3E0"/>
      </a:dk2>
      <a:lt2>
        <a:srgbClr val="E0E1E3"/>
      </a:lt2>
      <a:accent1>
        <a:srgbClr val="10069F"/>
      </a:accent1>
      <a:accent2>
        <a:srgbClr val="5A5B5E"/>
      </a:accent2>
      <a:accent3>
        <a:srgbClr val="FF6A13"/>
      </a:accent3>
      <a:accent4>
        <a:srgbClr val="43B02A"/>
      </a:accent4>
      <a:accent5>
        <a:srgbClr val="FFD100"/>
      </a:accent5>
      <a:accent6>
        <a:srgbClr val="8031A7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ASML Template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/>
      <a:bodyPr/>
      <a:lstStyle/>
      <a:style>
        <a:lnRef idx="2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algn="l" defTabSz="374400">
          <a:lnSpc>
            <a:spcPct val="95000"/>
          </a:lnSpc>
          <a:spcAft>
            <a:spcPts val="737"/>
          </a:spcAft>
          <a:defRPr sz="1600" dirty="0"/>
        </a:defPPr>
        <a:lvl1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1pPr>
        <a:lvl2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b="1" kern="1200" baseline="0">
            <a:solidFill>
              <a:schemeClr val="tx1"/>
            </a:solidFill>
            <a:latin typeface="+mn-lt"/>
            <a:ea typeface="+mn-ea"/>
            <a:cs typeface="+mn-cs"/>
          </a:defRPr>
        </a:lvl2pPr>
        <a:lvl3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SzPct val="110000"/>
          <a:buFont typeface="Arial" panose="020B0604020202020204" pitchFamily="34" charset="0"/>
          <a:buChar char="•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3pPr>
        <a:lvl4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SzPct val="100000"/>
          <a:buFont typeface="Arial" panose="020B0604020202020204" pitchFamily="34" charset="0"/>
          <a:buChar char="•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4pPr>
        <a:lvl5pPr marL="702000" indent="-23400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SzPct val="90000"/>
          <a:buFont typeface="Arial" panose="020B0604020202020204" pitchFamily="34" charset="0"/>
          <a:buChar char="•"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5pPr>
        <a:lvl6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 typeface="+mj-lt"/>
          <a:buAutoNum type="arabicPeriod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6pPr>
        <a:lvl7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 typeface="+mj-lt"/>
          <a:buAutoNum type="romanLcPeriod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7pPr>
        <a:lvl8pPr marL="0" indent="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Tx/>
          <a:buNone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8pPr>
        <a:lvl9pPr marL="0" indent="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FontTx/>
          <a:buNone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9pPr>
      </a:lstStyle>
    </a:txDef>
  </a:objectDefaults>
  <a:extraClrSchemeLst/>
  <a:custClrLst>
    <a:custClr name="ASML Blue">
      <a:srgbClr val="10069F"/>
    </a:custClr>
    <a:custClr name="ASML Light Blue">
      <a:srgbClr val="00A3E0"/>
    </a:custClr>
    <a:custClr name="ASML Teal">
      <a:srgbClr val="00BFB3"/>
    </a:custClr>
    <a:custClr name="ASML Green">
      <a:srgbClr val="43B02A"/>
    </a:custClr>
    <a:custClr name="ASML Light Green">
      <a:srgbClr val="C4D600"/>
    </a:custClr>
    <a:custClr name="ASML Yellow">
      <a:srgbClr val="FFD100"/>
    </a:custClr>
    <a:custClr name="ASML Orange">
      <a:srgbClr val="FF6A13"/>
    </a:custClr>
    <a:custClr name="ASML Red">
      <a:srgbClr val="F00000"/>
    </a:custClr>
    <a:custClr name="ASML Magenta">
      <a:srgbClr val="DF1995"/>
    </a:custClr>
    <a:custClr name="ASML Violet">
      <a:srgbClr val="8031A7"/>
    </a:custClr>
    <a:custClr name="ASML Blue">
      <a:srgbClr val="10069F"/>
    </a:custClr>
    <a:custClr name="ASML Light Blue -30">
      <a:srgbClr val="50C0E6"/>
    </a:custClr>
    <a:custClr name="ASML Teal -30">
      <a:srgbClr val="55D1C9"/>
    </a:custClr>
    <a:custClr name="ASML Green -30">
      <a:srgbClr val="80C572"/>
    </a:custClr>
    <a:custClr name="ASML Light Green -30">
      <a:srgbClr val="D8DF60"/>
    </a:custClr>
    <a:custClr name="ASML Yellow -30">
      <a:srgbClr val="FEDC61"/>
    </a:custClr>
    <a:custClr name="ASML Orange -30">
      <a:srgbClr val="FD8B57"/>
    </a:custClr>
    <a:custClr name="ASML Red -30">
      <a:srgbClr val="F25052"/>
    </a:custClr>
    <a:custClr name="ASML Magenta -30">
      <a:srgbClr val="E565B3"/>
    </a:custClr>
    <a:custClr name="ASML Violet -30">
      <a:srgbClr val="A473BE"/>
    </a:custClr>
    <a:custClr name="ASML Blue">
      <a:srgbClr val="10069F"/>
    </a:custClr>
    <a:custClr name="ASML Light Blue +30">
      <a:srgbClr val="0089B7"/>
    </a:custClr>
    <a:custClr name="ASML Teal +30">
      <a:srgbClr val="199D97"/>
    </a:custClr>
    <a:custClr name="ASML Green +30">
      <a:srgbClr val="1D8E29"/>
    </a:custClr>
    <a:custClr name="ASML Light Green +30">
      <a:srgbClr val="9FAE38"/>
    </a:custClr>
    <a:custClr name="ASML Yellow +30">
      <a:srgbClr val="D0AD23"/>
    </a:custClr>
    <a:custClr name="ASML Orange +30">
      <a:srgbClr val="D04A1E"/>
    </a:custClr>
    <a:custClr name="ASML Red +30">
      <a:srgbClr val="C50E16"/>
    </a:custClr>
    <a:custClr name="ASML Magenta +30">
      <a:srgbClr val="BA1B7B"/>
    </a:custClr>
    <a:custClr name="ASML Violet +30">
      <a:srgbClr val="6B2C89"/>
    </a:custClr>
  </a:custClrLst>
  <a:extLst>
    <a:ext uri="{05A4C25C-085E-4340-85A3-A5531E510DB2}">
      <thm15:themeFamily xmlns:thm15="http://schemas.microsoft.com/office/thememl/2012/main" name="Default Theme.pptx" id="{A441B4EF-1BF9-4BC5-8221-676D9028E161}" vid="{904D2B17-65EB-40FF-9752-03B187CC40F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9848C1704915E468056B7F9186C07AE" ma:contentTypeVersion="13" ma:contentTypeDescription="Create a new document." ma:contentTypeScope="" ma:versionID="b279da6ab0e1e90c150702477e068f58">
  <xsd:schema xmlns:xsd="http://www.w3.org/2001/XMLSchema" xmlns:xs="http://www.w3.org/2001/XMLSchema" xmlns:p="http://schemas.microsoft.com/office/2006/metadata/properties" xmlns:ns2="665c44e8-82e0-472a-a146-da60c58e68e1" xmlns:ns3="ea7ac1a7-e026-438e-9b47-4e86afcc9f67" xmlns:ns4="5e59d4ff-4c95-47cb-b4db-115ac812d3ac" targetNamespace="http://schemas.microsoft.com/office/2006/metadata/properties" ma:root="true" ma:fieldsID="48ab8dbc7d36fb524c1c707d6b41a29c" ns2:_="" ns3:_="" ns4:_="">
    <xsd:import namespace="665c44e8-82e0-472a-a146-da60c58e68e1"/>
    <xsd:import namespace="ea7ac1a7-e026-438e-9b47-4e86afcc9f67"/>
    <xsd:import namespace="5e59d4ff-4c95-47cb-b4db-115ac812d3ac"/>
    <xsd:element name="properties">
      <xsd:complexType>
        <xsd:sequence>
          <xsd:element name="documentManagement">
            <xsd:complexType>
              <xsd:all>
                <xsd:element ref="ns2:h299cf7589dc4b75bcd2bf9f19243c76" minOccurs="0"/>
                <xsd:element ref="ns2:TaxCatchAll" minOccurs="0"/>
                <xsd:element ref="ns2:TaxCatchAllLabel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4:SharedWithUsers" minOccurs="0"/>
                <xsd:element ref="ns4:SharedWithDetails" minOccurs="0"/>
                <xsd:element ref="ns3:MediaServiceLocatio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5c44e8-82e0-472a-a146-da60c58e68e1" elementFormDefault="qualified">
    <xsd:import namespace="http://schemas.microsoft.com/office/2006/documentManagement/types"/>
    <xsd:import namespace="http://schemas.microsoft.com/office/infopath/2007/PartnerControls"/>
    <xsd:element name="h299cf7589dc4b75bcd2bf9f19243c76" ma:index="8" nillable="true" ma:taxonomy="true" ma:internalName="h299cf7589dc4b75bcd2bf9f19243c76" ma:taxonomyFieldName="InformationClassification" ma:displayName="Information Classification" ma:readOnly="false" ma:default="" ma:fieldId="{1299cf75-89dc-4b75-bcd2-bf9f19243c76}" ma:sspId="9bb7800a-9dd4-4efa-9404-7ac564e64633" ma:termSetId="15e70205-4b68-455f-98cc-31f0c369727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e5a32542-8d91-43ae-b0f9-9033be59570c}" ma:internalName="TaxCatchAll" ma:showField="CatchAllData" ma:web="5e59d4ff-4c95-47cb-b4db-115ac812d3a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e5a32542-8d91-43ae-b0f9-9033be59570c}" ma:internalName="TaxCatchAllLabel" ma:readOnly="true" ma:showField="CatchAllDataLabel" ma:web="5e59d4ff-4c95-47cb-b4db-115ac812d3a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7ac1a7-e026-438e-9b47-4e86afcc9f6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LengthInSeconds" ma:index="24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59d4ff-4c95-47cb-b4db-115ac812d3ac" elementFormDefault="qualified">
    <xsd:import namespace="http://schemas.microsoft.com/office/2006/documentManagement/types"/>
    <xsd:import namespace="http://schemas.microsoft.com/office/infopath/2007/PartnerControls"/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9bb7800a-9dd4-4efa-9404-7ac564e64633" ContentTypeId="0x01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65c44e8-82e0-472a-a146-da60c58e68e1" xsi:nil="true"/>
    <h299cf7589dc4b75bcd2bf9f19243c76 xmlns="665c44e8-82e0-472a-a146-da60c58e68e1">
      <Terms xmlns="http://schemas.microsoft.com/office/infopath/2007/PartnerControls"/>
    </h299cf7589dc4b75bcd2bf9f19243c76>
  </documentManagement>
</p:properties>
</file>

<file path=customXml/itemProps1.xml><?xml version="1.0" encoding="utf-8"?>
<ds:datastoreItem xmlns:ds="http://schemas.openxmlformats.org/officeDocument/2006/customXml" ds:itemID="{D5252B76-EB14-4C1E-BF1F-78A990392F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5c44e8-82e0-472a-a146-da60c58e68e1"/>
    <ds:schemaRef ds:uri="ea7ac1a7-e026-438e-9b47-4e86afcc9f67"/>
    <ds:schemaRef ds:uri="5e59d4ff-4c95-47cb-b4db-115ac812d3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4E28DA6-0DC7-4AB6-A372-E065EFAE676A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C4E7A4DC-6172-4604-B89A-5D328143F19A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40A1C8B7-AB66-41AB-93A0-25049F19A0DD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5e59d4ff-4c95-47cb-b4db-115ac812d3ac"/>
    <ds:schemaRef ds:uri="http://purl.org/dc/elements/1.1/"/>
    <ds:schemaRef ds:uri="http://schemas.microsoft.com/office/2006/metadata/properties"/>
    <ds:schemaRef ds:uri="665c44e8-82e0-472a-a146-da60c58e68e1"/>
    <ds:schemaRef ds:uri="ea7ac1a7-e026-438e-9b47-4e86afcc9f67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SML_POWERPOINT for presentation purposes</Template>
  <TotalTime>2343</TotalTime>
  <Words>66</Words>
  <Application>Microsoft Office PowerPoint</Application>
  <PresentationFormat>Diavoorstelling (16:9)</PresentationFormat>
  <Paragraphs>21</Paragraphs>
  <Slides>10</Slides>
  <Notes>1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2</vt:i4>
      </vt:variant>
      <vt:variant>
        <vt:lpstr>Thema</vt:lpstr>
      </vt:variant>
      <vt:variant>
        <vt:i4>1</vt:i4>
      </vt:variant>
      <vt:variant>
        <vt:lpstr>Diatitels</vt:lpstr>
      </vt:variant>
      <vt:variant>
        <vt:i4>10</vt:i4>
      </vt:variant>
    </vt:vector>
  </HeadingPairs>
  <TitlesOfParts>
    <vt:vector size="13" baseType="lpstr">
      <vt:lpstr>Arial</vt:lpstr>
      <vt:lpstr>Calibri</vt:lpstr>
      <vt:lpstr>ASML Template 2021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Chips zijn de “hersenen” van machines en apparaten </vt:lpstr>
      <vt:lpstr>PowerPoint-presentatie</vt:lpstr>
    </vt:vector>
  </TitlesOfParts>
  <Company>ASM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 Vreeker</dc:creator>
  <cp:lastModifiedBy>Nienke Teurlings Buro Spice</cp:lastModifiedBy>
  <cp:revision>50</cp:revision>
  <cp:lastPrinted>2012-05-24T09:26:57Z</cp:lastPrinted>
  <dcterms:created xsi:type="dcterms:W3CDTF">2017-12-20T14:24:11Z</dcterms:created>
  <dcterms:modified xsi:type="dcterms:W3CDTF">2024-10-03T12:39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9848C1704915E468056B7F9186C07AE</vt:lpwstr>
  </property>
  <property fmtid="{D5CDD505-2E9C-101B-9397-08002B2CF9AE}" pid="3" name="InformationClassification">
    <vt:lpwstr/>
  </property>
  <property fmtid="{D5CDD505-2E9C-101B-9397-08002B2CF9AE}" pid="4" name="MSIP_Label_229eea9c-5281-4377-b6bc-afc76db9d7b4_Enabled">
    <vt:lpwstr>true</vt:lpwstr>
  </property>
  <property fmtid="{D5CDD505-2E9C-101B-9397-08002B2CF9AE}" pid="5" name="MSIP_Label_229eea9c-5281-4377-b6bc-afc76db9d7b4_SetDate">
    <vt:lpwstr>2022-01-20T13:34:07Z</vt:lpwstr>
  </property>
  <property fmtid="{D5CDD505-2E9C-101B-9397-08002B2CF9AE}" pid="6" name="MSIP_Label_229eea9c-5281-4377-b6bc-afc76db9d7b4_Method">
    <vt:lpwstr>Privileged</vt:lpwstr>
  </property>
  <property fmtid="{D5CDD505-2E9C-101B-9397-08002B2CF9AE}" pid="7" name="MSIP_Label_229eea9c-5281-4377-b6bc-afc76db9d7b4_Name">
    <vt:lpwstr>229eea9c-5281-4377-b6bc-afc76db9d7b4</vt:lpwstr>
  </property>
  <property fmtid="{D5CDD505-2E9C-101B-9397-08002B2CF9AE}" pid="8" name="MSIP_Label_229eea9c-5281-4377-b6bc-afc76db9d7b4_SiteId">
    <vt:lpwstr>af73baa8-f594-4eb2-a39d-93e96cad61fc</vt:lpwstr>
  </property>
  <property fmtid="{D5CDD505-2E9C-101B-9397-08002B2CF9AE}" pid="9" name="MSIP_Label_229eea9c-5281-4377-b6bc-afc76db9d7b4_ActionId">
    <vt:lpwstr>e1ca1aab-5cab-494f-88d4-2ec7b7c8aec9</vt:lpwstr>
  </property>
  <property fmtid="{D5CDD505-2E9C-101B-9397-08002B2CF9AE}" pid="10" name="MSIP_Label_229eea9c-5281-4377-b6bc-afc76db9d7b4_ContentBits">
    <vt:lpwstr>2</vt:lpwstr>
  </property>
</Properties>
</file>